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png" ContentType="image/p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304" r:id="rId2"/>
    <p:sldId id="306" r:id="rId3"/>
    <p:sldId id="305" r:id="rId4"/>
    <p:sldId id="308" r:id="rId5"/>
    <p:sldId id="309" r:id="rId6"/>
    <p:sldId id="310" r:id="rId7"/>
    <p:sldId id="315" r:id="rId8"/>
    <p:sldId id="311" r:id="rId9"/>
    <p:sldId id="314" r:id="rId10"/>
    <p:sldId id="312" r:id="rId11"/>
    <p:sldId id="316" r:id="rId12"/>
    <p:sldId id="313" r:id="rId13"/>
    <p:sldId id="300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A559F"/>
    <a:srgbClr val="6F872E"/>
    <a:srgbClr val="5396D1"/>
    <a:srgbClr val="4F8CC1"/>
    <a:srgbClr val="4C84B4"/>
    <a:srgbClr val="4E8BC4"/>
    <a:srgbClr val="5390C1"/>
    <a:srgbClr val="4686B1"/>
    <a:srgbClr val="70CEE7"/>
    <a:srgbClr val="4173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258"/>
    <p:restoredTop sz="84820"/>
  </p:normalViewPr>
  <p:slideViewPr>
    <p:cSldViewPr snapToGrid="0" snapToObjects="1">
      <p:cViewPr>
        <p:scale>
          <a:sx n="85" d="100"/>
          <a:sy n="85" d="100"/>
        </p:scale>
        <p:origin x="1344" y="5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11" d="100"/>
          <a:sy n="111" d="100"/>
        </p:scale>
        <p:origin x="6664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notesMaster" Target="notesMasters/notesMaster1.xml"/><Relationship Id="rId16" Type="http://schemas.openxmlformats.org/officeDocument/2006/relationships/handoutMaster" Target="handoutMasters/handoutMaster1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oleObject" Target="file:////C:\Users\gat\Desktop\danko2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microsoft.com/office/2011/relationships/chartStyle" Target="style2.xml"/><Relationship Id="rId2" Type="http://schemas.microsoft.com/office/2011/relationships/chartColorStyle" Target="colors2.xml"/><Relationship Id="rId3" Type="http://schemas.openxmlformats.org/officeDocument/2006/relationships/oleObject" Target="file:////C:\Users\gat\Desktop\danko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1"/>
          <c:order val="0"/>
          <c:tx>
            <c:strRef>
              <c:f>Roze!$I$1</c:f>
              <c:strCache>
                <c:ptCount val="1"/>
                <c:pt idx="0">
                  <c:v>forgalom_modellezett</c:v>
                </c:pt>
              </c:strCache>
            </c:strRef>
          </c:tx>
          <c:spPr>
            <a:ln w="19050" cap="rnd">
              <a:solidFill>
                <a:schemeClr val="bg2">
                  <a:lumMod val="5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dPt>
            <c:idx val="16"/>
            <c:marker>
              <c:symbol val="circle"/>
              <c:size val="5"/>
              <c:spPr>
                <a:noFill/>
                <a:ln w="9525">
                  <a:noFill/>
                </a:ln>
                <a:effectLst/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076C-44B2-BCA4-528EF36D9774}"/>
              </c:ext>
            </c:extLst>
          </c:dPt>
          <c:xVal>
            <c:numRef>
              <c:f>Roze!$H$2:$H$1052</c:f>
              <c:numCache>
                <c:formatCode>_-* #,##0.0\ _F_t_-;\-* #,##0.0\ _F_t_-;_-* "-"??\ _F_t_-;_-@_-</c:formatCode>
                <c:ptCount val="1051"/>
                <c:pt idx="0">
                  <c:v>9823.23451752266</c:v>
                </c:pt>
                <c:pt idx="1">
                  <c:v>9776.786563963209</c:v>
                </c:pt>
                <c:pt idx="2">
                  <c:v>9730.615774704365</c:v>
                </c:pt>
                <c:pt idx="3">
                  <c:v>9684.720153346714</c:v>
                </c:pt>
                <c:pt idx="4">
                  <c:v>9639.09772033184</c:v>
                </c:pt>
                <c:pt idx="5">
                  <c:v>9593.746512779374</c:v>
                </c:pt>
                <c:pt idx="6">
                  <c:v>9548.664584326075</c:v>
                </c:pt>
                <c:pt idx="7">
                  <c:v>9503.850004966505</c:v>
                </c:pt>
                <c:pt idx="8">
                  <c:v>9459.30086089569</c:v>
                </c:pt>
                <c:pt idx="9">
                  <c:v>9415.015254352978</c:v>
                </c:pt>
                <c:pt idx="10">
                  <c:v>9370.991303468241</c:v>
                </c:pt>
                <c:pt idx="11">
                  <c:v>9327.22714210938</c:v>
                </c:pt>
                <c:pt idx="12">
                  <c:v>9283.720919731295</c:v>
                </c:pt>
                <c:pt idx="13">
                  <c:v>9240.470801226953</c:v>
                </c:pt>
                <c:pt idx="14">
                  <c:v>9197.47496677973</c:v>
                </c:pt>
                <c:pt idx="15">
                  <c:v>9154.731611717414</c:v>
                </c:pt>
                <c:pt idx="16">
                  <c:v>9112.238946367942</c:v>
                </c:pt>
                <c:pt idx="17">
                  <c:v>9069.995195916223</c:v>
                </c:pt>
                <c:pt idx="18">
                  <c:v>9027.998600263258</c:v>
                </c:pt>
                <c:pt idx="19">
                  <c:v>8986.247413885928</c:v>
                </c:pt>
                <c:pt idx="20">
                  <c:v>8944.739905699003</c:v>
                </c:pt>
                <c:pt idx="21">
                  <c:v>8903.474358918068</c:v>
                </c:pt>
                <c:pt idx="22">
                  <c:v>8862.449070924267</c:v>
                </c:pt>
                <c:pt idx="23">
                  <c:v>8821.662353130466</c:v>
                </c:pt>
                <c:pt idx="24">
                  <c:v>8781.112530848573</c:v>
                </c:pt>
                <c:pt idx="25">
                  <c:v>8740.797943158637</c:v>
                </c:pt>
                <c:pt idx="26">
                  <c:v>8700.71694277887</c:v>
                </c:pt>
                <c:pt idx="27">
                  <c:v>8660.867895937688</c:v>
                </c:pt>
                <c:pt idx="28">
                  <c:v>8621.24918224661</c:v>
                </c:pt>
                <c:pt idx="29">
                  <c:v>8581.859194574412</c:v>
                </c:pt>
                <c:pt idx="30">
                  <c:v>8542.696338923301</c:v>
                </c:pt>
                <c:pt idx="31">
                  <c:v>8503.759034305473</c:v>
                </c:pt>
                <c:pt idx="32">
                  <c:v>8465.045712621846</c:v>
                </c:pt>
                <c:pt idx="33">
                  <c:v>8426.554818541326</c:v>
                </c:pt>
                <c:pt idx="34">
                  <c:v>8388.284809381957</c:v>
                </c:pt>
                <c:pt idx="35">
                  <c:v>8350.234154992936</c:v>
                </c:pt>
                <c:pt idx="36">
                  <c:v>8312.401337637823</c:v>
                </c:pt>
                <c:pt idx="37">
                  <c:v>8274.78485187954</c:v>
                </c:pt>
                <c:pt idx="38">
                  <c:v>8237.383204465707</c:v>
                </c:pt>
                <c:pt idx="39">
                  <c:v>8200.194914215942</c:v>
                </c:pt>
                <c:pt idx="40">
                  <c:v>8163.218511909937</c:v>
                </c:pt>
                <c:pt idx="41">
                  <c:v>8126.45254017677</c:v>
                </c:pt>
                <c:pt idx="42">
                  <c:v>8089.895553385533</c:v>
                </c:pt>
                <c:pt idx="43">
                  <c:v>8053.546117536747</c:v>
                </c:pt>
                <c:pt idx="44">
                  <c:v>8017.402810155327</c:v>
                </c:pt>
                <c:pt idx="45">
                  <c:v>7981.4642201844</c:v>
                </c:pt>
                <c:pt idx="46">
                  <c:v>7945.728947880279</c:v>
                </c:pt>
                <c:pt idx="47">
                  <c:v>7910.195604708414</c:v>
                </c:pt>
                <c:pt idx="48">
                  <c:v>7874.862813240791</c:v>
                </c:pt>
                <c:pt idx="49">
                  <c:v>7839.72920705396</c:v>
                </c:pt>
                <c:pt idx="50">
                  <c:v>7804.793430628277</c:v>
                </c:pt>
                <c:pt idx="51">
                  <c:v>7770.054139248317</c:v>
                </c:pt>
                <c:pt idx="52">
                  <c:v>7735.50999890412</c:v>
                </c:pt>
                <c:pt idx="53">
                  <c:v>7701.159686193524</c:v>
                </c:pt>
                <c:pt idx="54">
                  <c:v>7667.001888225597</c:v>
                </c:pt>
                <c:pt idx="55">
                  <c:v>7633.035302524928</c:v>
                </c:pt>
                <c:pt idx="56">
                  <c:v>7599.258636936828</c:v>
                </c:pt>
                <c:pt idx="57">
                  <c:v>7565.67060953386</c:v>
                </c:pt>
                <c:pt idx="58">
                  <c:v>7532.269948522884</c:v>
                </c:pt>
                <c:pt idx="59">
                  <c:v>7499.0553921534</c:v>
                </c:pt>
                <c:pt idx="60">
                  <c:v>7466.025688626452</c:v>
                </c:pt>
                <c:pt idx="61">
                  <c:v>7433.17959600502</c:v>
                </c:pt>
                <c:pt idx="62">
                  <c:v>7400.515882124741</c:v>
                </c:pt>
                <c:pt idx="63">
                  <c:v>7368.033324505895</c:v>
                </c:pt>
                <c:pt idx="64">
                  <c:v>7335.730710266089</c:v>
                </c:pt>
                <c:pt idx="65">
                  <c:v>7303.606836034096</c:v>
                </c:pt>
                <c:pt idx="66">
                  <c:v>7271.660507864215</c:v>
                </c:pt>
                <c:pt idx="67">
                  <c:v>7239.89054115178</c:v>
                </c:pt>
                <c:pt idx="68">
                  <c:v>7208.295760549308</c:v>
                </c:pt>
                <c:pt idx="69">
                  <c:v>7176.874999883843</c:v>
                </c:pt>
                <c:pt idx="70">
                  <c:v>7145.627102074563</c:v>
                </c:pt>
                <c:pt idx="71">
                  <c:v>7114.55091905185</c:v>
                </c:pt>
                <c:pt idx="72">
                  <c:v>7083.645311676653</c:v>
                </c:pt>
                <c:pt idx="73">
                  <c:v>7052.90914966107</c:v>
                </c:pt>
                <c:pt idx="74">
                  <c:v>7022.341311489341</c:v>
                </c:pt>
                <c:pt idx="75">
                  <c:v>6991.940684340057</c:v>
                </c:pt>
                <c:pt idx="76">
                  <c:v>6961.70616400877</c:v>
                </c:pt>
                <c:pt idx="77">
                  <c:v>6931.636654831611</c:v>
                </c:pt>
                <c:pt idx="78">
                  <c:v>6901.731069609485</c:v>
                </c:pt>
                <c:pt idx="79">
                  <c:v>6871.988329533318</c:v>
                </c:pt>
                <c:pt idx="80">
                  <c:v>6842.407364109716</c:v>
                </c:pt>
                <c:pt idx="81">
                  <c:v>6812.987111087517</c:v>
                </c:pt>
                <c:pt idx="82">
                  <c:v>6783.726516385224</c:v>
                </c:pt>
                <c:pt idx="83">
                  <c:v>6754.62453401882</c:v>
                </c:pt>
                <c:pt idx="84">
                  <c:v>6725.680126030534</c:v>
                </c:pt>
                <c:pt idx="85">
                  <c:v>6696.8922624184</c:v>
                </c:pt>
                <c:pt idx="86">
                  <c:v>6668.25992106618</c:v>
                </c:pt>
                <c:pt idx="87">
                  <c:v>6639.782087674397</c:v>
                </c:pt>
                <c:pt idx="88">
                  <c:v>6611.457755691586</c:v>
                </c:pt>
                <c:pt idx="89">
                  <c:v>6583.285926246725</c:v>
                </c:pt>
                <c:pt idx="90">
                  <c:v>6555.26560808187</c:v>
                </c:pt>
                <c:pt idx="91">
                  <c:v>6527.395817485803</c:v>
                </c:pt>
                <c:pt idx="92">
                  <c:v>6499.675578228117</c:v>
                </c:pt>
                <c:pt idx="93">
                  <c:v>6472.10392149412</c:v>
                </c:pt>
                <c:pt idx="94">
                  <c:v>6444.679885820132</c:v>
                </c:pt>
                <c:pt idx="95">
                  <c:v>6417.402517029706</c:v>
                </c:pt>
                <c:pt idx="96">
                  <c:v>6390.270868170272</c:v>
                </c:pt>
                <c:pt idx="97">
                  <c:v>6363.283999450521</c:v>
                </c:pt>
                <c:pt idx="98">
                  <c:v>6336.440978178241</c:v>
                </c:pt>
                <c:pt idx="99">
                  <c:v>6309.740878699015</c:v>
                </c:pt>
                <c:pt idx="100">
                  <c:v>6283.18278233516</c:v>
                </c:pt>
                <c:pt idx="101">
                  <c:v>6256.765777325778</c:v>
                </c:pt>
                <c:pt idx="102">
                  <c:v>6230.488958766698</c:v>
                </c:pt>
                <c:pt idx="103">
                  <c:v>6204.35142855176</c:v>
                </c:pt>
                <c:pt idx="104">
                  <c:v>6178.352295314006</c:v>
                </c:pt>
                <c:pt idx="105">
                  <c:v>6152.49067436788</c:v>
                </c:pt>
                <c:pt idx="106">
                  <c:v>6126.76568765181</c:v>
                </c:pt>
                <c:pt idx="107">
                  <c:v>6101.17646367141</c:v>
                </c:pt>
                <c:pt idx="108">
                  <c:v>6075.72213744302</c:v>
                </c:pt>
                <c:pt idx="109">
                  <c:v>6050.401850438268</c:v>
                </c:pt>
                <c:pt idx="110">
                  <c:v>6025.214750528588</c:v>
                </c:pt>
                <c:pt idx="111">
                  <c:v>6000.1599919307</c:v>
                </c:pt>
                <c:pt idx="112">
                  <c:v>5975.236735152417</c:v>
                </c:pt>
                <c:pt idx="113">
                  <c:v>5950.444146939009</c:v>
                </c:pt>
                <c:pt idx="114">
                  <c:v>5925.781400220189</c:v>
                </c:pt>
                <c:pt idx="115">
                  <c:v>5901.24767405737</c:v>
                </c:pt>
                <c:pt idx="116">
                  <c:v>5876.84215359168</c:v>
                </c:pt>
                <c:pt idx="117">
                  <c:v>5852.564029992298</c:v>
                </c:pt>
                <c:pt idx="118">
                  <c:v>5828.41250040541</c:v>
                </c:pt>
                <c:pt idx="119">
                  <c:v>5804.386767903615</c:v>
                </c:pt>
                <c:pt idx="120">
                  <c:v>5780.486041435631</c:v>
                </c:pt>
                <c:pt idx="121">
                  <c:v>5756.70953577687</c:v>
                </c:pt>
                <c:pt idx="122">
                  <c:v>5733.056471480105</c:v>
                </c:pt>
                <c:pt idx="123">
                  <c:v>5709.52607482679</c:v>
                </c:pt>
                <c:pt idx="124">
                  <c:v>5686.117577778827</c:v>
                </c:pt>
                <c:pt idx="125">
                  <c:v>5662.830217930788</c:v>
                </c:pt>
                <c:pt idx="126">
                  <c:v>5639.66323846257</c:v>
                </c:pt>
                <c:pt idx="127">
                  <c:v>5616.615888092424</c:v>
                </c:pt>
                <c:pt idx="128">
                  <c:v>5593.68742103066</c:v>
                </c:pt>
                <c:pt idx="129">
                  <c:v>5570.877096933526</c:v>
                </c:pt>
                <c:pt idx="130">
                  <c:v>5548.18418085768</c:v>
                </c:pt>
                <c:pt idx="131">
                  <c:v>5525.607943214995</c:v>
                </c:pt>
                <c:pt idx="132">
                  <c:v>5503.147659727952</c:v>
                </c:pt>
                <c:pt idx="133">
                  <c:v>5480.802611385224</c:v>
                </c:pt>
                <c:pt idx="134">
                  <c:v>5458.572084397864</c:v>
                </c:pt>
                <c:pt idx="135">
                  <c:v>5436.455370155818</c:v>
                </c:pt>
                <c:pt idx="136">
                  <c:v>5414.451765184906</c:v>
                </c:pt>
                <c:pt idx="137">
                  <c:v>5392.560571104031</c:v>
                </c:pt>
                <c:pt idx="138">
                  <c:v>5370.781094583112</c:v>
                </c:pt>
                <c:pt idx="139">
                  <c:v>5349.112647301075</c:v>
                </c:pt>
                <c:pt idx="140">
                  <c:v>5327.554545904432</c:v>
                </c:pt>
                <c:pt idx="141">
                  <c:v>5306.106111966281</c:v>
                </c:pt>
                <c:pt idx="142">
                  <c:v>5284.766671945395</c:v>
                </c:pt>
                <c:pt idx="143">
                  <c:v>5263.535557146081</c:v>
                </c:pt>
                <c:pt idx="144">
                  <c:v>5242.412103678288</c:v>
                </c:pt>
                <c:pt idx="145">
                  <c:v>5221.39565241771</c:v>
                </c:pt>
                <c:pt idx="146">
                  <c:v>5200.485548966972</c:v>
                </c:pt>
                <c:pt idx="147">
                  <c:v>5179.681143616491</c:v>
                </c:pt>
                <c:pt idx="148">
                  <c:v>5158.981791306196</c:v>
                </c:pt>
                <c:pt idx="149">
                  <c:v>5138.38685158722</c:v>
                </c:pt>
                <c:pt idx="150">
                  <c:v>5117.89568858429</c:v>
                </c:pt>
                <c:pt idx="151">
                  <c:v>5097.507670958144</c:v>
                </c:pt>
                <c:pt idx="152">
                  <c:v>5077.2221718686</c:v>
                </c:pt>
                <c:pt idx="153">
                  <c:v>5057.038568937633</c:v>
                </c:pt>
                <c:pt idx="154">
                  <c:v>5036.956244213175</c:v>
                </c:pt>
                <c:pt idx="155">
                  <c:v>5016.97458413294</c:v>
                </c:pt>
                <c:pt idx="156">
                  <c:v>4997.09297948866</c:v>
                </c:pt>
                <c:pt idx="157">
                  <c:v>4977.3108253907</c:v>
                </c:pt>
                <c:pt idx="158">
                  <c:v>4957.62752123305</c:v>
                </c:pt>
                <c:pt idx="159">
                  <c:v>4938.042470658455</c:v>
                </c:pt>
                <c:pt idx="160">
                  <c:v>4918.555081524021</c:v>
                </c:pt>
                <c:pt idx="161">
                  <c:v>4899.16476586709</c:v>
                </c:pt>
                <c:pt idx="162">
                  <c:v>4879.870939871405</c:v>
                </c:pt>
                <c:pt idx="163">
                  <c:v>4860.673023833596</c:v>
                </c:pt>
                <c:pt idx="164">
                  <c:v>4841.570442129999</c:v>
                </c:pt>
                <c:pt idx="165">
                  <c:v>4822.56262318373</c:v>
                </c:pt>
                <c:pt idx="166">
                  <c:v>4803.648999432091</c:v>
                </c:pt>
                <c:pt idx="167">
                  <c:v>4784.829007294245</c:v>
                </c:pt>
                <c:pt idx="168">
                  <c:v>4766.102087139247</c:v>
                </c:pt>
                <c:pt idx="169">
                  <c:v>4747.467683254236</c:v>
                </c:pt>
                <c:pt idx="170">
                  <c:v>4728.925243813131</c:v>
                </c:pt>
                <c:pt idx="171">
                  <c:v>4710.474220845344</c:v>
                </c:pt>
                <c:pt idx="172">
                  <c:v>4692.114070204991</c:v>
                </c:pt>
                <c:pt idx="173">
                  <c:v>4673.84425154021</c:v>
                </c:pt>
                <c:pt idx="174">
                  <c:v>4655.66422826299</c:v>
                </c:pt>
                <c:pt idx="175">
                  <c:v>4637.573467518969</c:v>
                </c:pt>
                <c:pt idx="176">
                  <c:v>4619.571440157793</c:v>
                </c:pt>
                <c:pt idx="177">
                  <c:v>4601.657620703495</c:v>
                </c:pt>
                <c:pt idx="178">
                  <c:v>4583.831487325328</c:v>
                </c:pt>
                <c:pt idx="179">
                  <c:v>4566.09252180882</c:v>
                </c:pt>
                <c:pt idx="180">
                  <c:v>4548.440209526936</c:v>
                </c:pt>
                <c:pt idx="181">
                  <c:v>4530.87403941168</c:v>
                </c:pt>
                <c:pt idx="182">
                  <c:v>4513.39350392593</c:v>
                </c:pt>
                <c:pt idx="183">
                  <c:v>4495.998099035419</c:v>
                </c:pt>
                <c:pt idx="184">
                  <c:v>4478.687324181071</c:v>
                </c:pt>
                <c:pt idx="185">
                  <c:v>4461.460682251461</c:v>
                </c:pt>
                <c:pt idx="186">
                  <c:v>4444.31767955576</c:v>
                </c:pt>
                <c:pt idx="187">
                  <c:v>4427.257825796569</c:v>
                </c:pt>
                <c:pt idx="188">
                  <c:v>4410.280634043342</c:v>
                </c:pt>
                <c:pt idx="189">
                  <c:v>4393.38562070582</c:v>
                </c:pt>
                <c:pt idx="190">
                  <c:v>4376.572305507768</c:v>
                </c:pt>
                <c:pt idx="191">
                  <c:v>4359.84021146096</c:v>
                </c:pt>
                <c:pt idx="192">
                  <c:v>4343.188864839386</c:v>
                </c:pt>
                <c:pt idx="193">
                  <c:v>4326.617795153688</c:v>
                </c:pt>
                <c:pt idx="194">
                  <c:v>4310.12653512579</c:v>
                </c:pt>
                <c:pt idx="195">
                  <c:v>4293.71462066384</c:v>
                </c:pt>
                <c:pt idx="196">
                  <c:v>4277.381590837196</c:v>
                </c:pt>
                <c:pt idx="197">
                  <c:v>4261.1269878519</c:v>
                </c:pt>
                <c:pt idx="198">
                  <c:v>4244.950357026039</c:v>
                </c:pt>
                <c:pt idx="199">
                  <c:v>4228.85124676573</c:v>
                </c:pt>
                <c:pt idx="200">
                  <c:v>4212.82920854083</c:v>
                </c:pt>
                <c:pt idx="201">
                  <c:v>4196.883796861296</c:v>
                </c:pt>
                <c:pt idx="202">
                  <c:v>4181.01456925349</c:v>
                </c:pt>
                <c:pt idx="203">
                  <c:v>4165.221086236791</c:v>
                </c:pt>
                <c:pt idx="204">
                  <c:v>4149.50291130044</c:v>
                </c:pt>
                <c:pt idx="205">
                  <c:v>4133.859610880413</c:v>
                </c:pt>
                <c:pt idx="206">
                  <c:v>4118.290754336777</c:v>
                </c:pt>
                <c:pt idx="207">
                  <c:v>4102.795913931001</c:v>
                </c:pt>
                <c:pt idx="208">
                  <c:v>4087.374664803524</c:v>
                </c:pt>
                <c:pt idx="209">
                  <c:v>4072.02658495164</c:v>
                </c:pt>
                <c:pt idx="210">
                  <c:v>4056.75125520742</c:v>
                </c:pt>
                <c:pt idx="211">
                  <c:v>4041.548259215861</c:v>
                </c:pt>
                <c:pt idx="212">
                  <c:v>4026.41718341337</c:v>
                </c:pt>
                <c:pt idx="213">
                  <c:v>4011.357617006202</c:v>
                </c:pt>
                <c:pt idx="214">
                  <c:v>3996.369151949215</c:v>
                </c:pt>
                <c:pt idx="215">
                  <c:v>3981.451382924828</c:v>
                </c:pt>
                <c:pt idx="216">
                  <c:v>3966.603907322143</c:v>
                </c:pt>
                <c:pt idx="217">
                  <c:v>3951.826325216152</c:v>
                </c:pt>
                <c:pt idx="218">
                  <c:v>3937.118239347272</c:v>
                </c:pt>
                <c:pt idx="219">
                  <c:v>3922.479255100968</c:v>
                </c:pt>
                <c:pt idx="220">
                  <c:v>3907.908980487556</c:v>
                </c:pt>
                <c:pt idx="221">
                  <c:v>3893.407026122207</c:v>
                </c:pt>
                <c:pt idx="222">
                  <c:v>3878.973005205076</c:v>
                </c:pt>
                <c:pt idx="223">
                  <c:v>3864.606533501712</c:v>
                </c:pt>
                <c:pt idx="224">
                  <c:v>3850.307229323461</c:v>
                </c:pt>
                <c:pt idx="225">
                  <c:v>3836.074713508188</c:v>
                </c:pt>
                <c:pt idx="226">
                  <c:v>3821.908609401145</c:v>
                </c:pt>
                <c:pt idx="227">
                  <c:v>3807.808542835867</c:v>
                </c:pt>
                <c:pt idx="228">
                  <c:v>3793.774142115431</c:v>
                </c:pt>
                <c:pt idx="229">
                  <c:v>3779.805037993704</c:v>
                </c:pt>
                <c:pt idx="230">
                  <c:v>3765.9008636569</c:v>
                </c:pt>
                <c:pt idx="231">
                  <c:v>3752.061254705145</c:v>
                </c:pt>
                <c:pt idx="232">
                  <c:v>3738.285849134294</c:v>
                </c:pt>
                <c:pt idx="233">
                  <c:v>3724.574287317904</c:v>
                </c:pt>
                <c:pt idx="234">
                  <c:v>3710.926211989293</c:v>
                </c:pt>
                <c:pt idx="235">
                  <c:v>3697.341268223832</c:v>
                </c:pt>
                <c:pt idx="236">
                  <c:v>3683.819103421314</c:v>
                </c:pt>
                <c:pt idx="237">
                  <c:v>3670.359367288555</c:v>
                </c:pt>
                <c:pt idx="238">
                  <c:v>3656.96171182206</c:v>
                </c:pt>
                <c:pt idx="239">
                  <c:v>3643.625791290843</c:v>
                </c:pt>
                <c:pt idx="240">
                  <c:v>3630.351262219506</c:v>
                </c:pt>
                <c:pt idx="241">
                  <c:v>3617.13778337128</c:v>
                </c:pt>
                <c:pt idx="242">
                  <c:v>3603.985015731363</c:v>
                </c:pt>
                <c:pt idx="243">
                  <c:v>3590.892622490306</c:v>
                </c:pt>
                <c:pt idx="244">
                  <c:v>3577.860269027599</c:v>
                </c:pt>
                <c:pt idx="245">
                  <c:v>3564.887622895322</c:v>
                </c:pt>
                <c:pt idx="246">
                  <c:v>3551.974353802026</c:v>
                </c:pt>
                <c:pt idx="247">
                  <c:v>3539.120133596707</c:v>
                </c:pt>
                <c:pt idx="248">
                  <c:v>3526.324636252848</c:v>
                </c:pt>
                <c:pt idx="249">
                  <c:v>3513.587537852687</c:v>
                </c:pt>
                <c:pt idx="250">
                  <c:v>3500.908516571617</c:v>
                </c:pt>
                <c:pt idx="251">
                  <c:v>3488.287252662645</c:v>
                </c:pt>
                <c:pt idx="252">
                  <c:v>3475.723428441015</c:v>
                </c:pt>
                <c:pt idx="253">
                  <c:v>3463.216728269021</c:v>
                </c:pt>
                <c:pt idx="254">
                  <c:v>3450.766838540791</c:v>
                </c:pt>
                <c:pt idx="255">
                  <c:v>3438.373447667386</c:v>
                </c:pt>
                <c:pt idx="256">
                  <c:v>3426.036246061922</c:v>
                </c:pt>
                <c:pt idx="257">
                  <c:v>3413.754926124765</c:v>
                </c:pt>
                <c:pt idx="258">
                  <c:v>3401.529182228975</c:v>
                </c:pt>
                <c:pt idx="259">
                  <c:v>3389.35871070578</c:v>
                </c:pt>
                <c:pt idx="260">
                  <c:v>3377.243209830186</c:v>
                </c:pt>
                <c:pt idx="261">
                  <c:v>3365.182379806755</c:v>
                </c:pt>
                <c:pt idx="262">
                  <c:v>3353.175922755414</c:v>
                </c:pt>
                <c:pt idx="263">
                  <c:v>3341.223542697482</c:v>
                </c:pt>
                <c:pt idx="264">
                  <c:v>3329.324945541707</c:v>
                </c:pt>
                <c:pt idx="265">
                  <c:v>3317.47983907052</c:v>
                </c:pt>
                <c:pt idx="266">
                  <c:v>3305.687932926292</c:v>
                </c:pt>
                <c:pt idx="267">
                  <c:v>3293.948938597838</c:v>
                </c:pt>
                <c:pt idx="268">
                  <c:v>3282.262569406914</c:v>
                </c:pt>
                <c:pt idx="269">
                  <c:v>3270.628540494918</c:v>
                </c:pt>
                <c:pt idx="270">
                  <c:v>3259.046568809547</c:v>
                </c:pt>
                <c:pt idx="271">
                  <c:v>3247.516373091774</c:v>
                </c:pt>
                <c:pt idx="272">
                  <c:v>3236.037673862816</c:v>
                </c:pt>
                <c:pt idx="273">
                  <c:v>3224.61019341116</c:v>
                </c:pt>
                <c:pt idx="274">
                  <c:v>3213.233655779785</c:v>
                </c:pt>
                <c:pt idx="275">
                  <c:v>3201.90778675352</c:v>
                </c:pt>
                <c:pt idx="276">
                  <c:v>3190.632313846301</c:v>
                </c:pt>
                <c:pt idx="277">
                  <c:v>3179.406966288838</c:v>
                </c:pt>
                <c:pt idx="278">
                  <c:v>3168.231475016096</c:v>
                </c:pt>
                <c:pt idx="279">
                  <c:v>3157.105572655048</c:v>
                </c:pt>
                <c:pt idx="280">
                  <c:v>3146.02899351249</c:v>
                </c:pt>
                <c:pt idx="281">
                  <c:v>3135.001473562927</c:v>
                </c:pt>
                <c:pt idx="282">
                  <c:v>3124.022750436564</c:v>
                </c:pt>
                <c:pt idx="283">
                  <c:v>3113.092563407436</c:v>
                </c:pt>
                <c:pt idx="284">
                  <c:v>3102.210653381591</c:v>
                </c:pt>
                <c:pt idx="285">
                  <c:v>3091.376762885391</c:v>
                </c:pt>
                <c:pt idx="286">
                  <c:v>3080.590636053862</c:v>
                </c:pt>
                <c:pt idx="287">
                  <c:v>3069.852018619192</c:v>
                </c:pt>
                <c:pt idx="288">
                  <c:v>3059.16065789937</c:v>
                </c:pt>
                <c:pt idx="289">
                  <c:v>3048.516302786712</c:v>
                </c:pt>
                <c:pt idx="290">
                  <c:v>3037.918703736776</c:v>
                </c:pt>
                <c:pt idx="291">
                  <c:v>3027.367612757068</c:v>
                </c:pt>
                <c:pt idx="292">
                  <c:v>3016.862783396082</c:v>
                </c:pt>
                <c:pt idx="293">
                  <c:v>3006.40397073228</c:v>
                </c:pt>
                <c:pt idx="294">
                  <c:v>2995.990931363207</c:v>
                </c:pt>
                <c:pt idx="295">
                  <c:v>2985.623423394696</c:v>
                </c:pt>
                <c:pt idx="296">
                  <c:v>2975.301206430151</c:v>
                </c:pt>
                <c:pt idx="297">
                  <c:v>2965.024041559949</c:v>
                </c:pt>
                <c:pt idx="298">
                  <c:v>2954.791691350836</c:v>
                </c:pt>
                <c:pt idx="299">
                  <c:v>2944.60391983557</c:v>
                </c:pt>
                <c:pt idx="300">
                  <c:v>2934.460492502424</c:v>
                </c:pt>
                <c:pt idx="301">
                  <c:v>2924.361176284992</c:v>
                </c:pt>
                <c:pt idx="302">
                  <c:v>2914.305739551947</c:v>
                </c:pt>
                <c:pt idx="303">
                  <c:v>2904.293952096896</c:v>
                </c:pt>
                <c:pt idx="304">
                  <c:v>2894.325585128372</c:v>
                </c:pt>
                <c:pt idx="305">
                  <c:v>2884.400411259815</c:v>
                </c:pt>
                <c:pt idx="306">
                  <c:v>2874.518204499735</c:v>
                </c:pt>
                <c:pt idx="307">
                  <c:v>2864.678740241867</c:v>
                </c:pt>
                <c:pt idx="308">
                  <c:v>2854.881795255463</c:v>
                </c:pt>
                <c:pt idx="309">
                  <c:v>2845.127147675611</c:v>
                </c:pt>
                <c:pt idx="310">
                  <c:v>2835.414576993697</c:v>
                </c:pt>
                <c:pt idx="311">
                  <c:v>2825.743864047824</c:v>
                </c:pt>
                <c:pt idx="312">
                  <c:v>2816.11479101352</c:v>
                </c:pt>
                <c:pt idx="313">
                  <c:v>2806.527141394221</c:v>
                </c:pt>
                <c:pt idx="314">
                  <c:v>2796.980700012118</c:v>
                </c:pt>
                <c:pt idx="315">
                  <c:v>2787.4752529989</c:v>
                </c:pt>
                <c:pt idx="316">
                  <c:v>2778.010587786598</c:v>
                </c:pt>
                <c:pt idx="317">
                  <c:v>2768.58649309858</c:v>
                </c:pt>
                <c:pt idx="318">
                  <c:v>2759.202758940532</c:v>
                </c:pt>
                <c:pt idx="319">
                  <c:v>2749.85917659151</c:v>
                </c:pt>
                <c:pt idx="320">
                  <c:v>2740.55553859511</c:v>
                </c:pt>
                <c:pt idx="321">
                  <c:v>2731.291638750731</c:v>
                </c:pt>
                <c:pt idx="322">
                  <c:v>2722.067272104803</c:v>
                </c:pt>
                <c:pt idx="323">
                  <c:v>2712.88223494215</c:v>
                </c:pt>
                <c:pt idx="324">
                  <c:v>2703.736324777431</c:v>
                </c:pt>
                <c:pt idx="325">
                  <c:v>2694.629340346645</c:v>
                </c:pt>
                <c:pt idx="326">
                  <c:v>2685.561081598647</c:v>
                </c:pt>
                <c:pt idx="327">
                  <c:v>2676.531349686813</c:v>
                </c:pt>
                <c:pt idx="328">
                  <c:v>2667.539946960684</c:v>
                </c:pt>
                <c:pt idx="329">
                  <c:v>2658.586676957751</c:v>
                </c:pt>
                <c:pt idx="330">
                  <c:v>2649.671344395261</c:v>
                </c:pt>
                <c:pt idx="331">
                  <c:v>2640.793755162076</c:v>
                </c:pt>
                <c:pt idx="332">
                  <c:v>2631.953716310688</c:v>
                </c:pt>
                <c:pt idx="333">
                  <c:v>2623.151036049128</c:v>
                </c:pt>
                <c:pt idx="334">
                  <c:v>2614.38552373311</c:v>
                </c:pt>
                <c:pt idx="335">
                  <c:v>2605.656989858084</c:v>
                </c:pt>
                <c:pt idx="336">
                  <c:v>2596.965246051516</c:v>
                </c:pt>
                <c:pt idx="337">
                  <c:v>2588.310105065084</c:v>
                </c:pt>
                <c:pt idx="338">
                  <c:v>2579.691380766987</c:v>
                </c:pt>
                <c:pt idx="339">
                  <c:v>2571.108888134303</c:v>
                </c:pt>
                <c:pt idx="340">
                  <c:v>2562.562443245474</c:v>
                </c:pt>
                <c:pt idx="341">
                  <c:v>2554.051863272753</c:v>
                </c:pt>
                <c:pt idx="342">
                  <c:v>2545.576966474715</c:v>
                </c:pt>
                <c:pt idx="343">
                  <c:v>2537.137572188932</c:v>
                </c:pt>
                <c:pt idx="344">
                  <c:v>2528.733500824571</c:v>
                </c:pt>
                <c:pt idx="345">
                  <c:v>2520.36457385512</c:v>
                </c:pt>
                <c:pt idx="346">
                  <c:v>2512.030613811214</c:v>
                </c:pt>
                <c:pt idx="347">
                  <c:v>2503.73144427337</c:v>
                </c:pt>
                <c:pt idx="348">
                  <c:v>2495.466889864931</c:v>
                </c:pt>
                <c:pt idx="349">
                  <c:v>2487.236776244968</c:v>
                </c:pt>
                <c:pt idx="350">
                  <c:v>2479.040930101308</c:v>
                </c:pt>
                <c:pt idx="351">
                  <c:v>2470.879179143525</c:v>
                </c:pt>
                <c:pt idx="352">
                  <c:v>2462.751352096076</c:v>
                </c:pt>
                <c:pt idx="353">
                  <c:v>2454.657278691445</c:v>
                </c:pt>
                <c:pt idx="354">
                  <c:v>2446.596789663305</c:v>
                </c:pt>
                <c:pt idx="355">
                  <c:v>2438.56971673983</c:v>
                </c:pt>
                <c:pt idx="356">
                  <c:v>2430.575892636925</c:v>
                </c:pt>
                <c:pt idx="357">
                  <c:v>2422.615151051666</c:v>
                </c:pt>
                <c:pt idx="358">
                  <c:v>2414.68732665565</c:v>
                </c:pt>
                <c:pt idx="359">
                  <c:v>2406.792255088412</c:v>
                </c:pt>
                <c:pt idx="360">
                  <c:v>2398.92977295104</c:v>
                </c:pt>
                <c:pt idx="361">
                  <c:v>2391.099717799624</c:v>
                </c:pt>
                <c:pt idx="362">
                  <c:v>2383.30192813891</c:v>
                </c:pt>
                <c:pt idx="363">
                  <c:v>2375.53624341594</c:v>
                </c:pt>
                <c:pt idx="364">
                  <c:v>2367.80250401375</c:v>
                </c:pt>
                <c:pt idx="365">
                  <c:v>2360.100551245097</c:v>
                </c:pt>
                <c:pt idx="366">
                  <c:v>2352.430227346283</c:v>
                </c:pt>
                <c:pt idx="367">
                  <c:v>2344.791375470971</c:v>
                </c:pt>
                <c:pt idx="368">
                  <c:v>2337.183839684092</c:v>
                </c:pt>
                <c:pt idx="369">
                  <c:v>2329.607464955764</c:v>
                </c:pt>
                <c:pt idx="370">
                  <c:v>2322.062097155239</c:v>
                </c:pt>
                <c:pt idx="371">
                  <c:v>2314.547583045002</c:v>
                </c:pt>
                <c:pt idx="372">
                  <c:v>2307.063770274747</c:v>
                </c:pt>
                <c:pt idx="373">
                  <c:v>2299.610507375555</c:v>
                </c:pt>
                <c:pt idx="374">
                  <c:v>2292.18764375403</c:v>
                </c:pt>
                <c:pt idx="375">
                  <c:v>2284.795029686511</c:v>
                </c:pt>
                <c:pt idx="376">
                  <c:v>2277.43251631326</c:v>
                </c:pt>
                <c:pt idx="377">
                  <c:v>2270.099955632825</c:v>
                </c:pt>
                <c:pt idx="378">
                  <c:v>2262.797200496297</c:v>
                </c:pt>
                <c:pt idx="379">
                  <c:v>2255.524104601747</c:v>
                </c:pt>
                <c:pt idx="380">
                  <c:v>2248.280522488596</c:v>
                </c:pt>
                <c:pt idx="381">
                  <c:v>2241.066309532065</c:v>
                </c:pt>
                <c:pt idx="382">
                  <c:v>2233.8813219377</c:v>
                </c:pt>
                <c:pt idx="383">
                  <c:v>2226.7254167359</c:v>
                </c:pt>
                <c:pt idx="384">
                  <c:v>2219.598451776452</c:v>
                </c:pt>
                <c:pt idx="385">
                  <c:v>2212.500285723213</c:v>
                </c:pt>
                <c:pt idx="386">
                  <c:v>2205.430778048727</c:v>
                </c:pt>
                <c:pt idx="387">
                  <c:v>2198.389789028929</c:v>
                </c:pt>
                <c:pt idx="388">
                  <c:v>2191.377179737874</c:v>
                </c:pt>
                <c:pt idx="389">
                  <c:v>2184.392812042535</c:v>
                </c:pt>
                <c:pt idx="390">
                  <c:v>2177.436548597577</c:v>
                </c:pt>
                <c:pt idx="391">
                  <c:v>2170.50825284025</c:v>
                </c:pt>
                <c:pt idx="392">
                  <c:v>2163.607788985237</c:v>
                </c:pt>
                <c:pt idx="393">
                  <c:v>2156.735022019644</c:v>
                </c:pt>
                <c:pt idx="394">
                  <c:v>2149.889817697863</c:v>
                </c:pt>
                <c:pt idx="395">
                  <c:v>2143.072042536688</c:v>
                </c:pt>
                <c:pt idx="396">
                  <c:v>2136.281563810252</c:v>
                </c:pt>
                <c:pt idx="397">
                  <c:v>2129.518249545191</c:v>
                </c:pt>
                <c:pt idx="398">
                  <c:v>2122.781968515661</c:v>
                </c:pt>
                <c:pt idx="399">
                  <c:v>2116.072590238576</c:v>
                </c:pt>
                <c:pt idx="400">
                  <c:v>2109.389984968724</c:v>
                </c:pt>
                <c:pt idx="401">
                  <c:v>2102.734023694006</c:v>
                </c:pt>
                <c:pt idx="402">
                  <c:v>2096.104578130694</c:v>
                </c:pt>
                <c:pt idx="403">
                  <c:v>2089.501520718712</c:v>
                </c:pt>
                <c:pt idx="404">
                  <c:v>2082.924724616948</c:v>
                </c:pt>
                <c:pt idx="405">
                  <c:v>2076.374063698641</c:v>
                </c:pt>
                <c:pt idx="406">
                  <c:v>2069.849412546711</c:v>
                </c:pt>
                <c:pt idx="407">
                  <c:v>2063.35064644925</c:v>
                </c:pt>
                <c:pt idx="408">
                  <c:v>2056.877641394917</c:v>
                </c:pt>
                <c:pt idx="409">
                  <c:v>2050.430274068483</c:v>
                </c:pt>
                <c:pt idx="410">
                  <c:v>2044.008421846302</c:v>
                </c:pt>
                <c:pt idx="411">
                  <c:v>2037.611962791892</c:v>
                </c:pt>
                <c:pt idx="412">
                  <c:v>2031.24077565151</c:v>
                </c:pt>
                <c:pt idx="413">
                  <c:v>2024.894739849789</c:v>
                </c:pt>
                <c:pt idx="414">
                  <c:v>2018.573735485373</c:v>
                </c:pt>
                <c:pt idx="415">
                  <c:v>2012.277643326596</c:v>
                </c:pt>
                <c:pt idx="416">
                  <c:v>2006.006344807191</c:v>
                </c:pt>
                <c:pt idx="417">
                  <c:v>1999.759722022058</c:v>
                </c:pt>
                <c:pt idx="418">
                  <c:v>1993.537657722998</c:v>
                </c:pt>
                <c:pt idx="419">
                  <c:v>1987.340035314564</c:v>
                </c:pt>
                <c:pt idx="420">
                  <c:v>1981.166738849854</c:v>
                </c:pt>
                <c:pt idx="421">
                  <c:v>1975.01765302642</c:v>
                </c:pt>
                <c:pt idx="422">
                  <c:v>1968.892663182098</c:v>
                </c:pt>
                <c:pt idx="423">
                  <c:v>1962.79165529101</c:v>
                </c:pt>
                <c:pt idx="424">
                  <c:v>1956.71451595945</c:v>
                </c:pt>
                <c:pt idx="425">
                  <c:v>1950.661132421905</c:v>
                </c:pt>
                <c:pt idx="426">
                  <c:v>1944.631392537045</c:v>
                </c:pt>
                <c:pt idx="427">
                  <c:v>1938.625184783805</c:v>
                </c:pt>
                <c:pt idx="428">
                  <c:v>1932.642398257374</c:v>
                </c:pt>
                <c:pt idx="429">
                  <c:v>1926.682922665376</c:v>
                </c:pt>
                <c:pt idx="430">
                  <c:v>1920.746648323928</c:v>
                </c:pt>
                <c:pt idx="431">
                  <c:v>1914.833466153836</c:v>
                </c:pt>
                <c:pt idx="432">
                  <c:v>1908.943267676766</c:v>
                </c:pt>
                <c:pt idx="433">
                  <c:v>1903.075945011398</c:v>
                </c:pt>
                <c:pt idx="434">
                  <c:v>1897.231390869756</c:v>
                </c:pt>
                <c:pt idx="435">
                  <c:v>1891.409498553382</c:v>
                </c:pt>
                <c:pt idx="436">
                  <c:v>1885.610161949663</c:v>
                </c:pt>
                <c:pt idx="437">
                  <c:v>1879.833275528135</c:v>
                </c:pt>
                <c:pt idx="438">
                  <c:v>1874.078734336819</c:v>
                </c:pt>
                <c:pt idx="439">
                  <c:v>1868.346433998603</c:v>
                </c:pt>
                <c:pt idx="440">
                  <c:v>1862.636270707606</c:v>
                </c:pt>
                <c:pt idx="441">
                  <c:v>1856.948141225626</c:v>
                </c:pt>
                <c:pt idx="442">
                  <c:v>1851.281942878531</c:v>
                </c:pt>
                <c:pt idx="443">
                  <c:v>1845.637573552793</c:v>
                </c:pt>
                <c:pt idx="444">
                  <c:v>1840.014931691936</c:v>
                </c:pt>
                <c:pt idx="445">
                  <c:v>1834.413916293051</c:v>
                </c:pt>
                <c:pt idx="446">
                  <c:v>1828.834426903351</c:v>
                </c:pt>
                <c:pt idx="447">
                  <c:v>1823.276363616753</c:v>
                </c:pt>
                <c:pt idx="448">
                  <c:v>1817.739627070425</c:v>
                </c:pt>
                <c:pt idx="449">
                  <c:v>1812.224118441431</c:v>
                </c:pt>
                <c:pt idx="450">
                  <c:v>1806.729739443365</c:v>
                </c:pt>
                <c:pt idx="451">
                  <c:v>1801.256392322995</c:v>
                </c:pt>
                <c:pt idx="452">
                  <c:v>1795.803979856988</c:v>
                </c:pt>
                <c:pt idx="453">
                  <c:v>1790.372405348551</c:v>
                </c:pt>
                <c:pt idx="454">
                  <c:v>1784.961572624231</c:v>
                </c:pt>
                <c:pt idx="455">
                  <c:v>1779.571386030626</c:v>
                </c:pt>
                <c:pt idx="456">
                  <c:v>1774.201750431176</c:v>
                </c:pt>
                <c:pt idx="457">
                  <c:v>1768.852571202954</c:v>
                </c:pt>
                <c:pt idx="458">
                  <c:v>1763.523754233501</c:v>
                </c:pt>
                <c:pt idx="459">
                  <c:v>1758.215205917643</c:v>
                </c:pt>
                <c:pt idx="460">
                  <c:v>1752.926833154413</c:v>
                </c:pt>
                <c:pt idx="461">
                  <c:v>1747.658543343857</c:v>
                </c:pt>
                <c:pt idx="462">
                  <c:v>1742.410244384017</c:v>
                </c:pt>
                <c:pt idx="463">
                  <c:v>1737.181844667803</c:v>
                </c:pt>
                <c:pt idx="464">
                  <c:v>1731.973253079994</c:v>
                </c:pt>
                <c:pt idx="465">
                  <c:v>1726.784378994183</c:v>
                </c:pt>
                <c:pt idx="466">
                  <c:v>1721.615132269777</c:v>
                </c:pt>
                <c:pt idx="467">
                  <c:v>1716.465423248998</c:v>
                </c:pt>
                <c:pt idx="468">
                  <c:v>1711.33516275395</c:v>
                </c:pt>
                <c:pt idx="469">
                  <c:v>1706.22426208365</c:v>
                </c:pt>
                <c:pt idx="470">
                  <c:v>1701.132633011105</c:v>
                </c:pt>
                <c:pt idx="471">
                  <c:v>1696.060187780438</c:v>
                </c:pt>
                <c:pt idx="472">
                  <c:v>1691.006839103945</c:v>
                </c:pt>
                <c:pt idx="473">
                  <c:v>1685.972500159303</c:v>
                </c:pt>
                <c:pt idx="474">
                  <c:v>1680.957084586674</c:v>
                </c:pt>
                <c:pt idx="475">
                  <c:v>1675.9605064859</c:v>
                </c:pt>
                <c:pt idx="476">
                  <c:v>1670.982680413685</c:v>
                </c:pt>
                <c:pt idx="477">
                  <c:v>1666.023521380846</c:v>
                </c:pt>
                <c:pt idx="478">
                  <c:v>1661.0829448495</c:v>
                </c:pt>
                <c:pt idx="479">
                  <c:v>1656.160866730348</c:v>
                </c:pt>
                <c:pt idx="480">
                  <c:v>1651.257203379942</c:v>
                </c:pt>
                <c:pt idx="481">
                  <c:v>1646.371871597956</c:v>
                </c:pt>
                <c:pt idx="482">
                  <c:v>1641.504788624522</c:v>
                </c:pt>
                <c:pt idx="483">
                  <c:v>1636.655872137528</c:v>
                </c:pt>
                <c:pt idx="484">
                  <c:v>1631.825040250002</c:v>
                </c:pt>
                <c:pt idx="485">
                  <c:v>1627.012211507438</c:v>
                </c:pt>
                <c:pt idx="486">
                  <c:v>1622.217304885203</c:v>
                </c:pt>
                <c:pt idx="487">
                  <c:v>1617.440239785908</c:v>
                </c:pt>
                <c:pt idx="488">
                  <c:v>1612.68093603687</c:v>
                </c:pt>
                <c:pt idx="489">
                  <c:v>1607.939313887511</c:v>
                </c:pt>
                <c:pt idx="490">
                  <c:v>1603.215294006802</c:v>
                </c:pt>
                <c:pt idx="491">
                  <c:v>1598.508797480782</c:v>
                </c:pt>
                <c:pt idx="492">
                  <c:v>1593.819745809988</c:v>
                </c:pt>
                <c:pt idx="493">
                  <c:v>1589.148060907008</c:v>
                </c:pt>
                <c:pt idx="494">
                  <c:v>1584.493665093967</c:v>
                </c:pt>
                <c:pt idx="495">
                  <c:v>1579.856481100065</c:v>
                </c:pt>
                <c:pt idx="496">
                  <c:v>1575.236432059163</c:v>
                </c:pt>
                <c:pt idx="497">
                  <c:v>1570.633441507327</c:v>
                </c:pt>
                <c:pt idx="498">
                  <c:v>1566.047433380435</c:v>
                </c:pt>
                <c:pt idx="499">
                  <c:v>1561.478332011733</c:v>
                </c:pt>
                <c:pt idx="500">
                  <c:v>1556.926062129532</c:v>
                </c:pt>
                <c:pt idx="501">
                  <c:v>1552.390548854776</c:v>
                </c:pt>
                <c:pt idx="502">
                  <c:v>1547.871717698732</c:v>
                </c:pt>
                <c:pt idx="503">
                  <c:v>1543.36949456064</c:v>
                </c:pt>
                <c:pt idx="504">
                  <c:v>1538.883805725411</c:v>
                </c:pt>
                <c:pt idx="505">
                  <c:v>1534.41457786131</c:v>
                </c:pt>
                <c:pt idx="506">
                  <c:v>1529.961738017687</c:v>
                </c:pt>
                <c:pt idx="507">
                  <c:v>1525.525213622685</c:v>
                </c:pt>
                <c:pt idx="508">
                  <c:v>1521.104932481006</c:v>
                </c:pt>
                <c:pt idx="509">
                  <c:v>1516.700822771671</c:v>
                </c:pt>
                <c:pt idx="510">
                  <c:v>1512.312813045786</c:v>
                </c:pt>
                <c:pt idx="511">
                  <c:v>1507.940832224316</c:v>
                </c:pt>
                <c:pt idx="512">
                  <c:v>1503.584809595938</c:v>
                </c:pt>
                <c:pt idx="513">
                  <c:v>1499.244674814804</c:v>
                </c:pt>
                <c:pt idx="514">
                  <c:v>1494.92035789843</c:v>
                </c:pt>
                <c:pt idx="515">
                  <c:v>1490.611789225488</c:v>
                </c:pt>
                <c:pt idx="516">
                  <c:v>1486.318899533727</c:v>
                </c:pt>
                <c:pt idx="517">
                  <c:v>1482.041619917805</c:v>
                </c:pt>
                <c:pt idx="518">
                  <c:v>1477.779881827196</c:v>
                </c:pt>
                <c:pt idx="519">
                  <c:v>1473.533617064108</c:v>
                </c:pt>
                <c:pt idx="520">
                  <c:v>1469.30275778138</c:v>
                </c:pt>
                <c:pt idx="521">
                  <c:v>1465.087236480441</c:v>
                </c:pt>
                <c:pt idx="522">
                  <c:v>1460.886986009234</c:v>
                </c:pt>
                <c:pt idx="523">
                  <c:v>1456.70193956018</c:v>
                </c:pt>
                <c:pt idx="524">
                  <c:v>1452.532030668177</c:v>
                </c:pt>
                <c:pt idx="525">
                  <c:v>1448.377193208551</c:v>
                </c:pt>
                <c:pt idx="526">
                  <c:v>1444.23736139508</c:v>
                </c:pt>
                <c:pt idx="527">
                  <c:v>1440.112469778005</c:v>
                </c:pt>
                <c:pt idx="528">
                  <c:v>1436.002453242056</c:v>
                </c:pt>
                <c:pt idx="529">
                  <c:v>1431.907247004488</c:v>
                </c:pt>
                <c:pt idx="530">
                  <c:v>1427.82678661315</c:v>
                </c:pt>
                <c:pt idx="531">
                  <c:v>1423.761007944515</c:v>
                </c:pt>
                <c:pt idx="532">
                  <c:v>1419.709847201809</c:v>
                </c:pt>
                <c:pt idx="533">
                  <c:v>1415.673240913062</c:v>
                </c:pt>
                <c:pt idx="534">
                  <c:v>1411.651125929244</c:v>
                </c:pt>
                <c:pt idx="535">
                  <c:v>1407.643439422334</c:v>
                </c:pt>
                <c:pt idx="536">
                  <c:v>1403.650118883512</c:v>
                </c:pt>
                <c:pt idx="537">
                  <c:v>1399.671102121248</c:v>
                </c:pt>
                <c:pt idx="538">
                  <c:v>1395.706327259494</c:v>
                </c:pt>
                <c:pt idx="539">
                  <c:v>1391.755732735805</c:v>
                </c:pt>
                <c:pt idx="540">
                  <c:v>1387.819257299573</c:v>
                </c:pt>
                <c:pt idx="541">
                  <c:v>1383.896840010165</c:v>
                </c:pt>
                <c:pt idx="542">
                  <c:v>1379.988420235153</c:v>
                </c:pt>
                <c:pt idx="543">
                  <c:v>1376.093937648526</c:v>
                </c:pt>
                <c:pt idx="544">
                  <c:v>1372.213332228905</c:v>
                </c:pt>
                <c:pt idx="545">
                  <c:v>1368.346544257787</c:v>
                </c:pt>
                <c:pt idx="546">
                  <c:v>1364.49351431778</c:v>
                </c:pt>
                <c:pt idx="547">
                  <c:v>1360.654183290889</c:v>
                </c:pt>
                <c:pt idx="548">
                  <c:v>1356.828492356748</c:v>
                </c:pt>
                <c:pt idx="549">
                  <c:v>1353.016382990952</c:v>
                </c:pt>
                <c:pt idx="550">
                  <c:v>1349.217796963295</c:v>
                </c:pt>
                <c:pt idx="551">
                  <c:v>1345.43267633613</c:v>
                </c:pt>
                <c:pt idx="552">
                  <c:v>1341.66096346263</c:v>
                </c:pt>
                <c:pt idx="553">
                  <c:v>1337.902600985158</c:v>
                </c:pt>
                <c:pt idx="554">
                  <c:v>1334.15753183357</c:v>
                </c:pt>
                <c:pt idx="555">
                  <c:v>1330.425699223605</c:v>
                </c:pt>
                <c:pt idx="556">
                  <c:v>1326.7070466552</c:v>
                </c:pt>
                <c:pt idx="557">
                  <c:v>1323.00151791087</c:v>
                </c:pt>
                <c:pt idx="558">
                  <c:v>1319.309057054124</c:v>
                </c:pt>
                <c:pt idx="559">
                  <c:v>1315.6296084278</c:v>
                </c:pt>
                <c:pt idx="560">
                  <c:v>1311.963116652503</c:v>
                </c:pt>
                <c:pt idx="561">
                  <c:v>1308.309526625</c:v>
                </c:pt>
                <c:pt idx="562">
                  <c:v>1304.668783516656</c:v>
                </c:pt>
                <c:pt idx="563">
                  <c:v>1301.040832771844</c:v>
                </c:pt>
                <c:pt idx="564">
                  <c:v>1297.425620106421</c:v>
                </c:pt>
                <c:pt idx="565">
                  <c:v>1293.823091506124</c:v>
                </c:pt>
                <c:pt idx="566">
                  <c:v>1290.23319322509</c:v>
                </c:pt>
                <c:pt idx="567">
                  <c:v>1286.6558717843</c:v>
                </c:pt>
                <c:pt idx="568">
                  <c:v>1283.091073970041</c:v>
                </c:pt>
                <c:pt idx="569">
                  <c:v>1279.538746832443</c:v>
                </c:pt>
                <c:pt idx="570">
                  <c:v>1275.998837683943</c:v>
                </c:pt>
                <c:pt idx="571">
                  <c:v>1272.471294097818</c:v>
                </c:pt>
                <c:pt idx="572">
                  <c:v>1268.956063906675</c:v>
                </c:pt>
                <c:pt idx="573">
                  <c:v>1265.453095201014</c:v>
                </c:pt>
                <c:pt idx="574">
                  <c:v>1261.962336327752</c:v>
                </c:pt>
                <c:pt idx="575">
                  <c:v>1258.483735888757</c:v>
                </c:pt>
                <c:pt idx="576">
                  <c:v>1255.017242739438</c:v>
                </c:pt>
                <c:pt idx="577">
                  <c:v>1251.562805987277</c:v>
                </c:pt>
                <c:pt idx="578">
                  <c:v>1248.12037499043</c:v>
                </c:pt>
                <c:pt idx="579">
                  <c:v>1244.689899356298</c:v>
                </c:pt>
                <c:pt idx="580">
                  <c:v>1241.271328940126</c:v>
                </c:pt>
                <c:pt idx="581">
                  <c:v>1237.864613843597</c:v>
                </c:pt>
                <c:pt idx="582">
                  <c:v>1234.469704413468</c:v>
                </c:pt>
                <c:pt idx="583">
                  <c:v>1231.08655124016</c:v>
                </c:pt>
                <c:pt idx="584">
                  <c:v>1227.715105156402</c:v>
                </c:pt>
                <c:pt idx="585">
                  <c:v>1224.355317235862</c:v>
                </c:pt>
                <c:pt idx="586">
                  <c:v>1221.007138791809</c:v>
                </c:pt>
                <c:pt idx="587">
                  <c:v>1217.67052137576</c:v>
                </c:pt>
                <c:pt idx="588">
                  <c:v>1214.345416776118</c:v>
                </c:pt>
                <c:pt idx="589">
                  <c:v>1211.0317770169</c:v>
                </c:pt>
                <c:pt idx="590">
                  <c:v>1207.729554356358</c:v>
                </c:pt>
                <c:pt idx="591">
                  <c:v>1204.438701285708</c:v>
                </c:pt>
                <c:pt idx="592">
                  <c:v>1201.159170527803</c:v>
                </c:pt>
                <c:pt idx="593">
                  <c:v>1197.890915035863</c:v>
                </c:pt>
                <c:pt idx="594">
                  <c:v>1194.633887992156</c:v>
                </c:pt>
                <c:pt idx="595">
                  <c:v>1191.388042806756</c:v>
                </c:pt>
                <c:pt idx="596">
                  <c:v>1188.153333116231</c:v>
                </c:pt>
                <c:pt idx="597">
                  <c:v>1184.92971278243</c:v>
                </c:pt>
                <c:pt idx="598">
                  <c:v>1181.717135891176</c:v>
                </c:pt>
                <c:pt idx="599">
                  <c:v>1178.51555675106</c:v>
                </c:pt>
                <c:pt idx="600">
                  <c:v>1175.324929892188</c:v>
                </c:pt>
                <c:pt idx="601">
                  <c:v>1172.145210064938</c:v>
                </c:pt>
                <c:pt idx="602">
                  <c:v>1168.976352238752</c:v>
                </c:pt>
                <c:pt idx="603">
                  <c:v>1165.818311600927</c:v>
                </c:pt>
                <c:pt idx="604">
                  <c:v>1162.671043555375</c:v>
                </c:pt>
                <c:pt idx="605">
                  <c:v>1159.534503721468</c:v>
                </c:pt>
                <c:pt idx="606">
                  <c:v>1156.408647932792</c:v>
                </c:pt>
                <c:pt idx="607">
                  <c:v>1153.293432236012</c:v>
                </c:pt>
                <c:pt idx="608">
                  <c:v>1150.188812889665</c:v>
                </c:pt>
                <c:pt idx="609">
                  <c:v>1147.094746362987</c:v>
                </c:pt>
                <c:pt idx="610">
                  <c:v>1144.011189334765</c:v>
                </c:pt>
                <c:pt idx="611">
                  <c:v>1140.938098692183</c:v>
                </c:pt>
                <c:pt idx="612">
                  <c:v>1137.875431529644</c:v>
                </c:pt>
                <c:pt idx="613">
                  <c:v>1134.82314514766</c:v>
                </c:pt>
                <c:pt idx="614">
                  <c:v>1131.781197051698</c:v>
                </c:pt>
                <c:pt idx="615">
                  <c:v>1128.749544951063</c:v>
                </c:pt>
                <c:pt idx="616">
                  <c:v>1125.728146757776</c:v>
                </c:pt>
                <c:pt idx="617">
                  <c:v>1122.716960585443</c:v>
                </c:pt>
                <c:pt idx="618">
                  <c:v>1119.715944748182</c:v>
                </c:pt>
                <c:pt idx="619">
                  <c:v>1116.72505775949</c:v>
                </c:pt>
                <c:pt idx="620">
                  <c:v>1113.744258331155</c:v>
                </c:pt>
                <c:pt idx="621">
                  <c:v>1110.7735053722</c:v>
                </c:pt>
                <c:pt idx="622">
                  <c:v>1107.812757987758</c:v>
                </c:pt>
                <c:pt idx="623">
                  <c:v>1104.86197547803</c:v>
                </c:pt>
                <c:pt idx="624">
                  <c:v>1101.92111733721</c:v>
                </c:pt>
                <c:pt idx="625">
                  <c:v>1098.990143252417</c:v>
                </c:pt>
                <c:pt idx="626">
                  <c:v>1096.069013102663</c:v>
                </c:pt>
                <c:pt idx="627">
                  <c:v>1093.157686957782</c:v>
                </c:pt>
                <c:pt idx="628">
                  <c:v>1090.256125077396</c:v>
                </c:pt>
                <c:pt idx="629">
                  <c:v>1087.364287909887</c:v>
                </c:pt>
                <c:pt idx="630">
                  <c:v>1084.482136091369</c:v>
                </c:pt>
                <c:pt idx="631">
                  <c:v>1081.609630444668</c:v>
                </c:pt>
                <c:pt idx="632">
                  <c:v>1078.746731978287</c:v>
                </c:pt>
                <c:pt idx="633">
                  <c:v>1075.893401885431</c:v>
                </c:pt>
                <c:pt idx="634">
                  <c:v>1073.049601542975</c:v>
                </c:pt>
                <c:pt idx="635">
                  <c:v>1070.215292510475</c:v>
                </c:pt>
                <c:pt idx="636">
                  <c:v>1067.390436529194</c:v>
                </c:pt>
                <c:pt idx="637">
                  <c:v>1064.574995521091</c:v>
                </c:pt>
                <c:pt idx="638">
                  <c:v>1061.76893158786</c:v>
                </c:pt>
                <c:pt idx="639">
                  <c:v>1058.972207009957</c:v>
                </c:pt>
                <c:pt idx="640">
                  <c:v>1056.18478424562</c:v>
                </c:pt>
                <c:pt idx="641">
                  <c:v>1053.40662592993</c:v>
                </c:pt>
                <c:pt idx="642">
                  <c:v>1050.637694873827</c:v>
                </c:pt>
                <c:pt idx="643">
                  <c:v>1047.877954063201</c:v>
                </c:pt>
                <c:pt idx="644">
                  <c:v>1045.127366657905</c:v>
                </c:pt>
                <c:pt idx="645">
                  <c:v>1042.385895990846</c:v>
                </c:pt>
                <c:pt idx="646">
                  <c:v>1039.653505567045</c:v>
                </c:pt>
                <c:pt idx="647">
                  <c:v>1036.930159062713</c:v>
                </c:pt>
                <c:pt idx="648">
                  <c:v>1034.215820324324</c:v>
                </c:pt>
                <c:pt idx="649">
                  <c:v>1031.510453367705</c:v>
                </c:pt>
                <c:pt idx="650">
                  <c:v>1028.81402237713</c:v>
                </c:pt>
                <c:pt idx="651">
                  <c:v>1026.12649170441</c:v>
                </c:pt>
                <c:pt idx="652">
                  <c:v>1023.447825868</c:v>
                </c:pt>
                <c:pt idx="653">
                  <c:v>1020.777989552092</c:v>
                </c:pt>
                <c:pt idx="654">
                  <c:v>1018.116947605748</c:v>
                </c:pt>
                <c:pt idx="655">
                  <c:v>1015.464665042004</c:v>
                </c:pt>
                <c:pt idx="656">
                  <c:v>1012.821107037008</c:v>
                </c:pt>
                <c:pt idx="657">
                  <c:v>1010.186238929114</c:v>
                </c:pt>
                <c:pt idx="658">
                  <c:v>1007.560026218056</c:v>
                </c:pt>
                <c:pt idx="659">
                  <c:v>1004.94243456407</c:v>
                </c:pt>
                <c:pt idx="660">
                  <c:v>1002.333429787025</c:v>
                </c:pt>
                <c:pt idx="661">
                  <c:v>999.7329778656016</c:v>
                </c:pt>
                <c:pt idx="662">
                  <c:v>997.1410449364162</c:v>
                </c:pt>
                <c:pt idx="663">
                  <c:v>994.5575972931962</c:v>
                </c:pt>
                <c:pt idx="664">
                  <c:v>991.9826013859495</c:v>
                </c:pt>
                <c:pt idx="665">
                  <c:v>989.4160238201143</c:v>
                </c:pt>
                <c:pt idx="666">
                  <c:v>986.8578313557579</c:v>
                </c:pt>
                <c:pt idx="667">
                  <c:v>984.3079909067313</c:v>
                </c:pt>
                <c:pt idx="668">
                  <c:v>981.7664695398715</c:v>
                </c:pt>
                <c:pt idx="669">
                  <c:v>979.233234474187</c:v>
                </c:pt>
                <c:pt idx="670">
                  <c:v>976.7082530800459</c:v>
                </c:pt>
                <c:pt idx="671">
                  <c:v>974.191492878377</c:v>
                </c:pt>
                <c:pt idx="672">
                  <c:v>971.6829215398848</c:v>
                </c:pt>
                <c:pt idx="673">
                  <c:v>969.1825068842224</c:v>
                </c:pt>
                <c:pt idx="674">
                  <c:v>966.6902168792666</c:v>
                </c:pt>
                <c:pt idx="675">
                  <c:v>964.2060196402684</c:v>
                </c:pt>
                <c:pt idx="676">
                  <c:v>961.729883429115</c:v>
                </c:pt>
                <c:pt idx="677">
                  <c:v>959.2617766535483</c:v>
                </c:pt>
                <c:pt idx="678">
                  <c:v>956.8016678663998</c:v>
                </c:pt>
                <c:pt idx="679">
                  <c:v>954.3495257648174</c:v>
                </c:pt>
                <c:pt idx="680">
                  <c:v>951.9053191895139</c:v>
                </c:pt>
                <c:pt idx="681">
                  <c:v>949.469017124002</c:v>
                </c:pt>
                <c:pt idx="682">
                  <c:v>947.0405886938669</c:v>
                </c:pt>
                <c:pt idx="683">
                  <c:v>944.6200031659884</c:v>
                </c:pt>
                <c:pt idx="684">
                  <c:v>942.2072299478234</c:v>
                </c:pt>
                <c:pt idx="685">
                  <c:v>939.8022385866622</c:v>
                </c:pt>
                <c:pt idx="686">
                  <c:v>937.4049987688986</c:v>
                </c:pt>
                <c:pt idx="687">
                  <c:v>935.0154803192897</c:v>
                </c:pt>
                <c:pt idx="688">
                  <c:v>932.633653200243</c:v>
                </c:pt>
                <c:pt idx="689">
                  <c:v>930.259487511098</c:v>
                </c:pt>
                <c:pt idx="690">
                  <c:v>927.8929534873994</c:v>
                </c:pt>
                <c:pt idx="691">
                  <c:v>925.5340215001996</c:v>
                </c:pt>
                <c:pt idx="692">
                  <c:v>923.182662055338</c:v>
                </c:pt>
                <c:pt idx="693">
                  <c:v>920.8388457927474</c:v>
                </c:pt>
                <c:pt idx="694">
                  <c:v>918.5025434857477</c:v>
                </c:pt>
                <c:pt idx="695">
                  <c:v>916.173726040373</c:v>
                </c:pt>
                <c:pt idx="696">
                  <c:v>913.8523644946368</c:v>
                </c:pt>
                <c:pt idx="697">
                  <c:v>911.538430017892</c:v>
                </c:pt>
                <c:pt idx="698">
                  <c:v>909.231893910123</c:v>
                </c:pt>
                <c:pt idx="699">
                  <c:v>906.9327276012663</c:v>
                </c:pt>
                <c:pt idx="700">
                  <c:v>904.6409026505496</c:v>
                </c:pt>
                <c:pt idx="701">
                  <c:v>902.3563907458129</c:v>
                </c:pt>
                <c:pt idx="702">
                  <c:v>900.0791637028434</c:v>
                </c:pt>
                <c:pt idx="703">
                  <c:v>897.8091934646999</c:v>
                </c:pt>
                <c:pt idx="704">
                  <c:v>895.5464521010803</c:v>
                </c:pt>
                <c:pt idx="705">
                  <c:v>893.290911807647</c:v>
                </c:pt>
                <c:pt idx="706">
                  <c:v>891.0425449053744</c:v>
                </c:pt>
                <c:pt idx="707">
                  <c:v>888.8013238399126</c:v>
                </c:pt>
                <c:pt idx="708">
                  <c:v>886.5672211809374</c:v>
                </c:pt>
                <c:pt idx="709">
                  <c:v>884.3402096215164</c:v>
                </c:pt>
                <c:pt idx="710">
                  <c:v>882.1202619774582</c:v>
                </c:pt>
                <c:pt idx="711">
                  <c:v>879.9073511866894</c:v>
                </c:pt>
                <c:pt idx="712">
                  <c:v>877.7014503086347</c:v>
                </c:pt>
                <c:pt idx="713">
                  <c:v>875.5025325235711</c:v>
                </c:pt>
                <c:pt idx="714">
                  <c:v>873.3105711320244</c:v>
                </c:pt>
                <c:pt idx="715">
                  <c:v>871.1255395541455</c:v>
                </c:pt>
                <c:pt idx="716">
                  <c:v>868.9474113290878</c:v>
                </c:pt>
                <c:pt idx="717">
                  <c:v>866.7761601144074</c:v>
                </c:pt>
                <c:pt idx="718">
                  <c:v>864.6117596854544</c:v>
                </c:pt>
                <c:pt idx="719">
                  <c:v>862.4541839347604</c:v>
                </c:pt>
                <c:pt idx="720">
                  <c:v>860.3034068714518</c:v>
                </c:pt>
                <c:pt idx="721">
                  <c:v>858.159402620633</c:v>
                </c:pt>
                <c:pt idx="722">
                  <c:v>856.0221454228154</c:v>
                </c:pt>
                <c:pt idx="723">
                  <c:v>853.8916096333127</c:v>
                </c:pt>
                <c:pt idx="724">
                  <c:v>851.7677697216634</c:v>
                </c:pt>
                <c:pt idx="725">
                  <c:v>849.6506002710342</c:v>
                </c:pt>
                <c:pt idx="726">
                  <c:v>847.540075977657</c:v>
                </c:pt>
                <c:pt idx="727">
                  <c:v>845.4361716502383</c:v>
                </c:pt>
                <c:pt idx="728">
                  <c:v>843.3388622093946</c:v>
                </c:pt>
                <c:pt idx="729">
                  <c:v>841.248122687086</c:v>
                </c:pt>
                <c:pt idx="730">
                  <c:v>839.1639282260243</c:v>
                </c:pt>
                <c:pt idx="731">
                  <c:v>837.0862540791515</c:v>
                </c:pt>
                <c:pt idx="732">
                  <c:v>835.015075609043</c:v>
                </c:pt>
                <c:pt idx="733">
                  <c:v>832.9503682873616</c:v>
                </c:pt>
                <c:pt idx="734">
                  <c:v>830.8921076943224</c:v>
                </c:pt>
                <c:pt idx="735">
                  <c:v>828.8402695181084</c:v>
                </c:pt>
                <c:pt idx="736">
                  <c:v>826.7948295543535</c:v>
                </c:pt>
                <c:pt idx="737">
                  <c:v>824.7557637055751</c:v>
                </c:pt>
                <c:pt idx="738">
                  <c:v>822.723047980656</c:v>
                </c:pt>
                <c:pt idx="739">
                  <c:v>820.6966584942793</c:v>
                </c:pt>
                <c:pt idx="740">
                  <c:v>818.6765714664206</c:v>
                </c:pt>
                <c:pt idx="741">
                  <c:v>816.6627632217956</c:v>
                </c:pt>
                <c:pt idx="742">
                  <c:v>814.6552101893391</c:v>
                </c:pt>
                <c:pt idx="743">
                  <c:v>812.653888901681</c:v>
                </c:pt>
                <c:pt idx="744">
                  <c:v>810.65877599462</c:v>
                </c:pt>
                <c:pt idx="745">
                  <c:v>808.6698482066085</c:v>
                </c:pt>
                <c:pt idx="746">
                  <c:v>806.6870823782205</c:v>
                </c:pt>
                <c:pt idx="747">
                  <c:v>804.7104554516597</c:v>
                </c:pt>
                <c:pt idx="748">
                  <c:v>802.73994447023</c:v>
                </c:pt>
                <c:pt idx="749">
                  <c:v>800.775526577846</c:v>
                </c:pt>
                <c:pt idx="750">
                  <c:v>798.8171790184979</c:v>
                </c:pt>
                <c:pt idx="751">
                  <c:v>796.8648791357823</c:v>
                </c:pt>
                <c:pt idx="752">
                  <c:v>794.9186043723805</c:v>
                </c:pt>
                <c:pt idx="753">
                  <c:v>792.978332269573</c:v>
                </c:pt>
                <c:pt idx="754">
                  <c:v>791.0440404667311</c:v>
                </c:pt>
                <c:pt idx="755">
                  <c:v>789.1157067008492</c:v>
                </c:pt>
                <c:pt idx="756">
                  <c:v>787.1933088060295</c:v>
                </c:pt>
                <c:pt idx="757">
                  <c:v>785.2768247130206</c:v>
                </c:pt>
                <c:pt idx="758">
                  <c:v>783.3662324487124</c:v>
                </c:pt>
                <c:pt idx="759">
                  <c:v>781.4615101356788</c:v>
                </c:pt>
                <c:pt idx="760">
                  <c:v>779.5626359916769</c:v>
                </c:pt>
                <c:pt idx="761">
                  <c:v>777.6695883291898</c:v>
                </c:pt>
                <c:pt idx="762">
                  <c:v>775.782345554946</c:v>
                </c:pt>
                <c:pt idx="763">
                  <c:v>773.9008861694471</c:v>
                </c:pt>
                <c:pt idx="764">
                  <c:v>772.0251887665158</c:v>
                </c:pt>
                <c:pt idx="765">
                  <c:v>770.155232032811</c:v>
                </c:pt>
                <c:pt idx="766">
                  <c:v>768.290994747385</c:v>
                </c:pt>
                <c:pt idx="767">
                  <c:v>766.4324557812021</c:v>
                </c:pt>
                <c:pt idx="768">
                  <c:v>764.5795940967188</c:v>
                </c:pt>
                <c:pt idx="769">
                  <c:v>762.7323887473805</c:v>
                </c:pt>
                <c:pt idx="770">
                  <c:v>760.8908188772128</c:v>
                </c:pt>
                <c:pt idx="771">
                  <c:v>759.054863720356</c:v>
                </c:pt>
                <c:pt idx="772">
                  <c:v>757.2245026006097</c:v>
                </c:pt>
                <c:pt idx="773">
                  <c:v>755.3997149310075</c:v>
                </c:pt>
                <c:pt idx="774">
                  <c:v>753.580480213357</c:v>
                </c:pt>
                <c:pt idx="775">
                  <c:v>751.766778037818</c:v>
                </c:pt>
                <c:pt idx="776">
                  <c:v>749.958588082455</c:v>
                </c:pt>
                <c:pt idx="777">
                  <c:v>748.1558901128061</c:v>
                </c:pt>
                <c:pt idx="778">
                  <c:v>746.3586639814472</c:v>
                </c:pt>
                <c:pt idx="779">
                  <c:v>744.566889627578</c:v>
                </c:pt>
                <c:pt idx="780">
                  <c:v>742.780547076568</c:v>
                </c:pt>
                <c:pt idx="781">
                  <c:v>740.9996164395594</c:v>
                </c:pt>
                <c:pt idx="782">
                  <c:v>739.2240779130345</c:v>
                </c:pt>
                <c:pt idx="783">
                  <c:v>737.4539117783856</c:v>
                </c:pt>
                <c:pt idx="784">
                  <c:v>735.6890984015125</c:v>
                </c:pt>
                <c:pt idx="785">
                  <c:v>733.9296182324064</c:v>
                </c:pt>
                <c:pt idx="786">
                  <c:v>732.175451804725</c:v>
                </c:pt>
                <c:pt idx="787">
                  <c:v>730.4265797353853</c:v>
                </c:pt>
                <c:pt idx="788">
                  <c:v>728.6829827241755</c:v>
                </c:pt>
                <c:pt idx="789">
                  <c:v>726.9446415533121</c:v>
                </c:pt>
                <c:pt idx="790">
                  <c:v>725.2115370870752</c:v>
                </c:pt>
                <c:pt idx="791">
                  <c:v>723.483650271377</c:v>
                </c:pt>
                <c:pt idx="792">
                  <c:v>721.7609621333767</c:v>
                </c:pt>
                <c:pt idx="793">
                  <c:v>720.0434537810793</c:v>
                </c:pt>
                <c:pt idx="794">
                  <c:v>718.3311064029461</c:v>
                </c:pt>
                <c:pt idx="795">
                  <c:v>716.623901267498</c:v>
                </c:pt>
                <c:pt idx="796">
                  <c:v>714.9218197229111</c:v>
                </c:pt>
                <c:pt idx="797">
                  <c:v>713.224843196662</c:v>
                </c:pt>
                <c:pt idx="798">
                  <c:v>711.5329531951043</c:v>
                </c:pt>
                <c:pt idx="799">
                  <c:v>709.8461313031153</c:v>
                </c:pt>
                <c:pt idx="800">
                  <c:v>708.1643591836843</c:v>
                </c:pt>
                <c:pt idx="801">
                  <c:v>706.4876185775594</c:v>
                </c:pt>
                <c:pt idx="802">
                  <c:v>704.8158913028543</c:v>
                </c:pt>
                <c:pt idx="803">
                  <c:v>703.1491592546788</c:v>
                </c:pt>
                <c:pt idx="804">
                  <c:v>701.4874044047542</c:v>
                </c:pt>
                <c:pt idx="805">
                  <c:v>699.8306088010663</c:v>
                </c:pt>
                <c:pt idx="806">
                  <c:v>698.178754567466</c:v>
                </c:pt>
                <c:pt idx="807">
                  <c:v>696.5318239033129</c:v>
                </c:pt>
                <c:pt idx="808">
                  <c:v>694.8897990831221</c:v>
                </c:pt>
                <c:pt idx="809">
                  <c:v>693.2526624561843</c:v>
                </c:pt>
                <c:pt idx="810">
                  <c:v>691.6203964462093</c:v>
                </c:pt>
                <c:pt idx="811">
                  <c:v>689.9929835509711</c:v>
                </c:pt>
                <c:pt idx="812">
                  <c:v>688.3704063419397</c:v>
                </c:pt>
                <c:pt idx="813">
                  <c:v>686.7526474639324</c:v>
                </c:pt>
                <c:pt idx="814">
                  <c:v>685.1396896347634</c:v>
                </c:pt>
                <c:pt idx="815">
                  <c:v>683.5315156448893</c:v>
                </c:pt>
                <c:pt idx="816">
                  <c:v>681.9281083570465</c:v>
                </c:pt>
                <c:pt idx="817">
                  <c:v>680.3294507059209</c:v>
                </c:pt>
                <c:pt idx="818">
                  <c:v>678.7355256977994</c:v>
                </c:pt>
                <c:pt idx="819">
                  <c:v>677.1463164102041</c:v>
                </c:pt>
                <c:pt idx="820">
                  <c:v>675.5618059915871</c:v>
                </c:pt>
                <c:pt idx="821">
                  <c:v>673.9819776609498</c:v>
                </c:pt>
                <c:pt idx="822">
                  <c:v>672.4068147075383</c:v>
                </c:pt>
                <c:pt idx="823">
                  <c:v>670.8363004904839</c:v>
                </c:pt>
                <c:pt idx="824">
                  <c:v>669.2704184384765</c:v>
                </c:pt>
                <c:pt idx="825">
                  <c:v>667.7091520494293</c:v>
                </c:pt>
                <c:pt idx="826">
                  <c:v>666.152484890152</c:v>
                </c:pt>
                <c:pt idx="827">
                  <c:v>664.600400596012</c:v>
                </c:pt>
                <c:pt idx="828">
                  <c:v>663.0528828706161</c:v>
                </c:pt>
                <c:pt idx="829">
                  <c:v>661.5099154854773</c:v>
                </c:pt>
                <c:pt idx="830">
                  <c:v>659.971482279696</c:v>
                </c:pt>
                <c:pt idx="831">
                  <c:v>658.4375671596287</c:v>
                </c:pt>
                <c:pt idx="832">
                  <c:v>656.90815409858</c:v>
                </c:pt>
                <c:pt idx="833">
                  <c:v>655.3832271364679</c:v>
                </c:pt>
                <c:pt idx="834">
                  <c:v>653.862770379522</c:v>
                </c:pt>
                <c:pt idx="835">
                  <c:v>652.3467679999561</c:v>
                </c:pt>
                <c:pt idx="836">
                  <c:v>650.8352042356594</c:v>
                </c:pt>
                <c:pt idx="837">
                  <c:v>649.3280633898792</c:v>
                </c:pt>
                <c:pt idx="838">
                  <c:v>647.8253298309158</c:v>
                </c:pt>
                <c:pt idx="839">
                  <c:v>646.3269879918194</c:v>
                </c:pt>
                <c:pt idx="840">
                  <c:v>644.8330223700631</c:v>
                </c:pt>
                <c:pt idx="841">
                  <c:v>643.3434175272516</c:v>
                </c:pt>
                <c:pt idx="842">
                  <c:v>641.8581580888164</c:v>
                </c:pt>
                <c:pt idx="843">
                  <c:v>640.3772287437072</c:v>
                </c:pt>
                <c:pt idx="844">
                  <c:v>638.9006142441074</c:v>
                </c:pt>
                <c:pt idx="845">
                  <c:v>637.4282994051014</c:v>
                </c:pt>
                <c:pt idx="846">
                  <c:v>635.9602691044109</c:v>
                </c:pt>
                <c:pt idx="847">
                  <c:v>634.4965082820923</c:v>
                </c:pt>
                <c:pt idx="848">
                  <c:v>633.0370019402194</c:v>
                </c:pt>
                <c:pt idx="849">
                  <c:v>631.5817351426136</c:v>
                </c:pt>
                <c:pt idx="850">
                  <c:v>630.1306930145494</c:v>
                </c:pt>
                <c:pt idx="851">
                  <c:v>628.6838607424536</c:v>
                </c:pt>
                <c:pt idx="852">
                  <c:v>627.2412235736317</c:v>
                </c:pt>
                <c:pt idx="853">
                  <c:v>625.8027668159611</c:v>
                </c:pt>
                <c:pt idx="854">
                  <c:v>624.3684758376377</c:v>
                </c:pt>
                <c:pt idx="855">
                  <c:v>622.938336066851</c:v>
                </c:pt>
                <c:pt idx="856">
                  <c:v>621.5123329915399</c:v>
                </c:pt>
                <c:pt idx="857">
                  <c:v>620.0904521590884</c:v>
                </c:pt>
                <c:pt idx="858">
                  <c:v>618.672679176052</c:v>
                </c:pt>
                <c:pt idx="859">
                  <c:v>617.2589997078891</c:v>
                </c:pt>
                <c:pt idx="860">
                  <c:v>615.8493994786665</c:v>
                </c:pt>
                <c:pt idx="861">
                  <c:v>614.4438642708025</c:v>
                </c:pt>
                <c:pt idx="862">
                  <c:v>613.0423799247867</c:v>
                </c:pt>
                <c:pt idx="863">
                  <c:v>611.6449323389047</c:v>
                </c:pt>
                <c:pt idx="864">
                  <c:v>610.2515074689721</c:v>
                </c:pt>
                <c:pt idx="865">
                  <c:v>608.8620913280604</c:v>
                </c:pt>
                <c:pt idx="866">
                  <c:v>607.4766699862372</c:v>
                </c:pt>
                <c:pt idx="867">
                  <c:v>606.09522957029</c:v>
                </c:pt>
                <c:pt idx="868">
                  <c:v>604.7177562634736</c:v>
                </c:pt>
                <c:pt idx="869">
                  <c:v>603.3442363052393</c:v>
                </c:pt>
                <c:pt idx="870">
                  <c:v>601.9746559909659</c:v>
                </c:pt>
                <c:pt idx="871">
                  <c:v>600.609001671713</c:v>
                </c:pt>
                <c:pt idx="872">
                  <c:v>599.247259753952</c:v>
                </c:pt>
                <c:pt idx="873">
                  <c:v>597.8894166993203</c:v>
                </c:pt>
                <c:pt idx="874">
                  <c:v>596.5354590243409</c:v>
                </c:pt>
                <c:pt idx="875">
                  <c:v>595.185373300195</c:v>
                </c:pt>
                <c:pt idx="876">
                  <c:v>593.8391461524474</c:v>
                </c:pt>
                <c:pt idx="877">
                  <c:v>592.4967642608057</c:v>
                </c:pt>
                <c:pt idx="878">
                  <c:v>591.1582143588627</c:v>
                </c:pt>
                <c:pt idx="879">
                  <c:v>589.823483233852</c:v>
                </c:pt>
                <c:pt idx="880">
                  <c:v>588.492557726392</c:v>
                </c:pt>
                <c:pt idx="881">
                  <c:v>587.1654247302454</c:v>
                </c:pt>
                <c:pt idx="882">
                  <c:v>585.8420711920708</c:v>
                </c:pt>
                <c:pt idx="883">
                  <c:v>584.5224841111772</c:v>
                </c:pt>
                <c:pt idx="884">
                  <c:v>583.2066505392775</c:v>
                </c:pt>
                <c:pt idx="885">
                  <c:v>581.8945575802552</c:v>
                </c:pt>
                <c:pt idx="886">
                  <c:v>580.5861923899137</c:v>
                </c:pt>
                <c:pt idx="887">
                  <c:v>579.2815421757457</c:v>
                </c:pt>
                <c:pt idx="888">
                  <c:v>577.9805941966836</c:v>
                </c:pt>
                <c:pt idx="889">
                  <c:v>576.683335762875</c:v>
                </c:pt>
                <c:pt idx="890">
                  <c:v>575.3897542354334</c:v>
                </c:pt>
                <c:pt idx="891">
                  <c:v>574.099837026221</c:v>
                </c:pt>
                <c:pt idx="892">
                  <c:v>572.8135715975905</c:v>
                </c:pt>
                <c:pt idx="893">
                  <c:v>571.530945462177</c:v>
                </c:pt>
                <c:pt idx="894">
                  <c:v>570.251946182657</c:v>
                </c:pt>
                <c:pt idx="895">
                  <c:v>568.9765613715111</c:v>
                </c:pt>
                <c:pt idx="896">
                  <c:v>567.7047786908085</c:v>
                </c:pt>
                <c:pt idx="897">
                  <c:v>566.4365858519714</c:v>
                </c:pt>
                <c:pt idx="898">
                  <c:v>565.171970615553</c:v>
                </c:pt>
                <c:pt idx="899">
                  <c:v>563.910920791001</c:v>
                </c:pt>
                <c:pt idx="900">
                  <c:v>562.653424236461</c:v>
                </c:pt>
                <c:pt idx="901">
                  <c:v>561.399468858513</c:v>
                </c:pt>
                <c:pt idx="902">
                  <c:v>560.1490426119847</c:v>
                </c:pt>
                <c:pt idx="903">
                  <c:v>558.9021334997182</c:v>
                </c:pt>
                <c:pt idx="904">
                  <c:v>557.6587295723485</c:v>
                </c:pt>
                <c:pt idx="905">
                  <c:v>556.4188189280816</c:v>
                </c:pt>
                <c:pt idx="906">
                  <c:v>555.1823897124931</c:v>
                </c:pt>
                <c:pt idx="907">
                  <c:v>553.9494301182931</c:v>
                </c:pt>
                <c:pt idx="908">
                  <c:v>552.7199283851234</c:v>
                </c:pt>
                <c:pt idx="909">
                  <c:v>551.4938727993435</c:v>
                </c:pt>
                <c:pt idx="910">
                  <c:v>550.2712516938072</c:v>
                </c:pt>
                <c:pt idx="911">
                  <c:v>549.0520534476661</c:v>
                </c:pt>
                <c:pt idx="912">
                  <c:v>547.8362664861467</c:v>
                </c:pt>
                <c:pt idx="913">
                  <c:v>546.623879280348</c:v>
                </c:pt>
                <c:pt idx="914">
                  <c:v>545.4148803470245</c:v>
                </c:pt>
                <c:pt idx="915">
                  <c:v>544.209258248398</c:v>
                </c:pt>
                <c:pt idx="916">
                  <c:v>543.0070015919221</c:v>
                </c:pt>
                <c:pt idx="917">
                  <c:v>541.808099030105</c:v>
                </c:pt>
                <c:pt idx="918">
                  <c:v>540.6125392602915</c:v>
                </c:pt>
                <c:pt idx="919">
                  <c:v>539.4203110244537</c:v>
                </c:pt>
                <c:pt idx="920">
                  <c:v>538.2314031090098</c:v>
                </c:pt>
                <c:pt idx="921">
                  <c:v>537.0458043446014</c:v>
                </c:pt>
                <c:pt idx="922">
                  <c:v>535.8635036059032</c:v>
                </c:pt>
                <c:pt idx="923">
                  <c:v>534.6844898114272</c:v>
                </c:pt>
                <c:pt idx="924">
                  <c:v>533.508751923318</c:v>
                </c:pt>
                <c:pt idx="925">
                  <c:v>532.3362789471555</c:v>
                </c:pt>
                <c:pt idx="926">
                  <c:v>531.1670599317654</c:v>
                </c:pt>
                <c:pt idx="927">
                  <c:v>530.001083969023</c:v>
                </c:pt>
                <c:pt idx="928">
                  <c:v>528.8383401936512</c:v>
                </c:pt>
                <c:pt idx="929">
                  <c:v>527.678817783036</c:v>
                </c:pt>
                <c:pt idx="930">
                  <c:v>526.5225059570354</c:v>
                </c:pt>
                <c:pt idx="931">
                  <c:v>525.3693939777736</c:v>
                </c:pt>
                <c:pt idx="932">
                  <c:v>524.219471149472</c:v>
                </c:pt>
                <c:pt idx="933">
                  <c:v>523.072726818247</c:v>
                </c:pt>
                <c:pt idx="934">
                  <c:v>521.9291503719244</c:v>
                </c:pt>
                <c:pt idx="935">
                  <c:v>520.788731239851</c:v>
                </c:pt>
                <c:pt idx="936">
                  <c:v>519.6514588927095</c:v>
                </c:pt>
                <c:pt idx="937">
                  <c:v>518.5173228423414</c:v>
                </c:pt>
                <c:pt idx="938">
                  <c:v>517.38631264154</c:v>
                </c:pt>
                <c:pt idx="939">
                  <c:v>516.2584178838964</c:v>
                </c:pt>
                <c:pt idx="940">
                  <c:v>515.133628203593</c:v>
                </c:pt>
                <c:pt idx="941">
                  <c:v>514.0119332752344</c:v>
                </c:pt>
                <c:pt idx="942">
                  <c:v>512.8933228136607</c:v>
                </c:pt>
                <c:pt idx="943">
                  <c:v>511.7777865737766</c:v>
                </c:pt>
                <c:pt idx="944">
                  <c:v>510.6653143503592</c:v>
                </c:pt>
                <c:pt idx="945">
                  <c:v>509.5558959778922</c:v>
                </c:pt>
                <c:pt idx="946">
                  <c:v>508.4495213303811</c:v>
                </c:pt>
                <c:pt idx="947">
                  <c:v>507.346180321179</c:v>
                </c:pt>
                <c:pt idx="948">
                  <c:v>506.2458629028137</c:v>
                </c:pt>
                <c:pt idx="949">
                  <c:v>505.1485590668126</c:v>
                </c:pt>
                <c:pt idx="950">
                  <c:v>504.0542588435246</c:v>
                </c:pt>
                <c:pt idx="951">
                  <c:v>502.9629523019545</c:v>
                </c:pt>
                <c:pt idx="952">
                  <c:v>501.8746295495842</c:v>
                </c:pt>
                <c:pt idx="953">
                  <c:v>500.7892807322105</c:v>
                </c:pt>
                <c:pt idx="954">
                  <c:v>499.7068960337628</c:v>
                </c:pt>
                <c:pt idx="955">
                  <c:v>498.627465676145</c:v>
                </c:pt>
                <c:pt idx="956">
                  <c:v>497.5509799190591</c:v>
                </c:pt>
                <c:pt idx="957">
                  <c:v>496.4774290598497</c:v>
                </c:pt>
                <c:pt idx="958">
                  <c:v>495.4068034333185</c:v>
                </c:pt>
                <c:pt idx="959">
                  <c:v>494.3390934115742</c:v>
                </c:pt>
                <c:pt idx="960">
                  <c:v>493.2742894038621</c:v>
                </c:pt>
                <c:pt idx="961">
                  <c:v>492.2123818563998</c:v>
                </c:pt>
                <c:pt idx="962">
                  <c:v>491.1533612522122</c:v>
                </c:pt>
                <c:pt idx="963">
                  <c:v>490.0972181109732</c:v>
                </c:pt>
                <c:pt idx="964">
                  <c:v>489.0439429888353</c:v>
                </c:pt>
                <c:pt idx="965">
                  <c:v>487.9935264782838</c:v>
                </c:pt>
                <c:pt idx="966">
                  <c:v>486.9459592079617</c:v>
                </c:pt>
                <c:pt idx="967">
                  <c:v>485.9012318425124</c:v>
                </c:pt>
                <c:pt idx="968">
                  <c:v>484.8593350824343</c:v>
                </c:pt>
                <c:pt idx="969">
                  <c:v>483.8202596639052</c:v>
                </c:pt>
                <c:pt idx="970">
                  <c:v>482.7839963586366</c:v>
                </c:pt>
                <c:pt idx="971">
                  <c:v>481.7505359737152</c:v>
                </c:pt>
                <c:pt idx="972">
                  <c:v>480.7198693514428</c:v>
                </c:pt>
                <c:pt idx="973">
                  <c:v>479.6919873691922</c:v>
                </c:pt>
                <c:pt idx="974">
                  <c:v>478.6668809392394</c:v>
                </c:pt>
                <c:pt idx="975">
                  <c:v>477.6445410086203</c:v>
                </c:pt>
                <c:pt idx="976">
                  <c:v>476.6249585589752</c:v>
                </c:pt>
                <c:pt idx="977">
                  <c:v>475.6081246064007</c:v>
                </c:pt>
                <c:pt idx="978">
                  <c:v>474.5940302012869</c:v>
                </c:pt>
                <c:pt idx="979">
                  <c:v>473.5826664281867</c:v>
                </c:pt>
                <c:pt idx="980">
                  <c:v>472.5740244056458</c:v>
                </c:pt>
                <c:pt idx="981">
                  <c:v>471.5680952860719</c:v>
                </c:pt>
                <c:pt idx="982">
                  <c:v>470.5648702555707</c:v>
                </c:pt>
                <c:pt idx="983">
                  <c:v>469.5643405338137</c:v>
                </c:pt>
                <c:pt idx="984">
                  <c:v>468.5664973738768</c:v>
                </c:pt>
                <c:pt idx="985">
                  <c:v>467.5713320621116</c:v>
                </c:pt>
                <c:pt idx="986">
                  <c:v>466.5788359179843</c:v>
                </c:pt>
                <c:pt idx="987">
                  <c:v>465.5890002939407</c:v>
                </c:pt>
                <c:pt idx="988">
                  <c:v>464.6018165752573</c:v>
                </c:pt>
                <c:pt idx="989">
                  <c:v>463.6172761799033</c:v>
                </c:pt>
                <c:pt idx="990">
                  <c:v>462.6353705583936</c:v>
                </c:pt>
                <c:pt idx="991">
                  <c:v>461.6560911936575</c:v>
                </c:pt>
                <c:pt idx="992">
                  <c:v>460.6794296008771</c:v>
                </c:pt>
                <c:pt idx="993">
                  <c:v>459.7053773273697</c:v>
                </c:pt>
                <c:pt idx="994">
                  <c:v>458.7339259524369</c:v>
                </c:pt>
                <c:pt idx="995">
                  <c:v>457.7650670872292</c:v>
                </c:pt>
                <c:pt idx="996">
                  <c:v>456.7987923745989</c:v>
                </c:pt>
                <c:pt idx="997">
                  <c:v>455.8350934889812</c:v>
                </c:pt>
                <c:pt idx="998">
                  <c:v>454.8739621362377</c:v>
                </c:pt>
                <c:pt idx="999">
                  <c:v>453.9153900535304</c:v>
                </c:pt>
                <c:pt idx="1000">
                  <c:v>452.9593690091895</c:v>
                </c:pt>
                <c:pt idx="1001">
                  <c:v>452.0058908025694</c:v>
                </c:pt>
                <c:pt idx="1002">
                  <c:v>451.0549472639215</c:v>
                </c:pt>
                <c:pt idx="1003">
                  <c:v>450.1065302542572</c:v>
                </c:pt>
                <c:pt idx="1004">
                  <c:v>449.160631665219</c:v>
                </c:pt>
                <c:pt idx="1005">
                  <c:v>448.2172434189407</c:v>
                </c:pt>
                <c:pt idx="1006">
                  <c:v>447.2763574679261</c:v>
                </c:pt>
                <c:pt idx="1007">
                  <c:v>446.3379657949115</c:v>
                </c:pt>
                <c:pt idx="1008">
                  <c:v>445.4020604127347</c:v>
                </c:pt>
                <c:pt idx="1009">
                  <c:v>444.4686333642113</c:v>
                </c:pt>
                <c:pt idx="1010">
                  <c:v>443.537676721998</c:v>
                </c:pt>
                <c:pt idx="1011">
                  <c:v>442.60918258847</c:v>
                </c:pt>
                <c:pt idx="1012">
                  <c:v>441.6831430955942</c:v>
                </c:pt>
                <c:pt idx="1013">
                  <c:v>440.7595504047962</c:v>
                </c:pt>
                <c:pt idx="1014">
                  <c:v>439.838396706838</c:v>
                </c:pt>
                <c:pt idx="1015">
                  <c:v>438.919674221691</c:v>
                </c:pt>
                <c:pt idx="1016">
                  <c:v>438.0033751984124</c:v>
                </c:pt>
                <c:pt idx="1017">
                  <c:v>437.0894919150167</c:v>
                </c:pt>
                <c:pt idx="1018">
                  <c:v>436.1780166783554</c:v>
                </c:pt>
                <c:pt idx="1019">
                  <c:v>435.2689418239942</c:v>
                </c:pt>
                <c:pt idx="1020">
                  <c:v>434.3622597160821</c:v>
                </c:pt>
                <c:pt idx="1021">
                  <c:v>433.4579627472413</c:v>
                </c:pt>
                <c:pt idx="1022">
                  <c:v>432.5560433384393</c:v>
                </c:pt>
                <c:pt idx="1023">
                  <c:v>431.656493938862</c:v>
                </c:pt>
                <c:pt idx="1024">
                  <c:v>430.7593070258043</c:v>
                </c:pt>
                <c:pt idx="1025">
                  <c:v>429.8644751045423</c:v>
                </c:pt>
                <c:pt idx="1026">
                  <c:v>428.9719907082183</c:v>
                </c:pt>
                <c:pt idx="1027">
                  <c:v>428.08184639772</c:v>
                </c:pt>
                <c:pt idx="1028">
                  <c:v>427.1940347615596</c:v>
                </c:pt>
                <c:pt idx="1029">
                  <c:v>426.3085484157648</c:v>
                </c:pt>
                <c:pt idx="1030">
                  <c:v>425.4253800037515</c:v>
                </c:pt>
                <c:pt idx="1031">
                  <c:v>424.5445221962142</c:v>
                </c:pt>
                <c:pt idx="1032">
                  <c:v>423.6659676910044</c:v>
                </c:pt>
                <c:pt idx="1033">
                  <c:v>422.7897092130227</c:v>
                </c:pt>
                <c:pt idx="1034">
                  <c:v>421.9157395140969</c:v>
                </c:pt>
                <c:pt idx="1035">
                  <c:v>421.0440513728732</c:v>
                </c:pt>
                <c:pt idx="1036">
                  <c:v>420.1746375946954</c:v>
                </c:pt>
                <c:pt idx="1037">
                  <c:v>419.307491011501</c:v>
                </c:pt>
                <c:pt idx="1038">
                  <c:v>418.4426044817003</c:v>
                </c:pt>
                <c:pt idx="1039">
                  <c:v>417.5799708900702</c:v>
                </c:pt>
                <c:pt idx="1040">
                  <c:v>416.7195831476358</c:v>
                </c:pt>
                <c:pt idx="1041">
                  <c:v>415.8614341915681</c:v>
                </c:pt>
                <c:pt idx="1042">
                  <c:v>415.0055169850669</c:v>
                </c:pt>
                <c:pt idx="1043">
                  <c:v>414.1518245172524</c:v>
                </c:pt>
                <c:pt idx="1044">
                  <c:v>413.3003498030575</c:v>
                </c:pt>
                <c:pt idx="1045">
                  <c:v>412.4510858831171</c:v>
                </c:pt>
                <c:pt idx="1046">
                  <c:v>411.6040258236603</c:v>
                </c:pt>
                <c:pt idx="1047">
                  <c:v>410.7591627163981</c:v>
                </c:pt>
                <c:pt idx="1048">
                  <c:v>409.9164896784266</c:v>
                </c:pt>
                <c:pt idx="1049">
                  <c:v>409.0759998521091</c:v>
                </c:pt>
                <c:pt idx="1050">
                  <c:v>408.2376864049789</c:v>
                </c:pt>
              </c:numCache>
            </c:numRef>
          </c:xVal>
          <c:yVal>
            <c:numRef>
              <c:f>Roze!$I$2:$I$1052</c:f>
              <c:numCache>
                <c:formatCode>_-* #,##0.0\ _F_t_-;\-* #,##0.0\ _F_t_-;_-* "-"??\ _F_t_-;_-@_-</c:formatCode>
                <c:ptCount val="1051"/>
                <c:pt idx="0">
                  <c:v>7.85858761401812E6</c:v>
                </c:pt>
                <c:pt idx="1">
                  <c:v>7.83120603773454E6</c:v>
                </c:pt>
                <c:pt idx="2">
                  <c:v>7.8039538513129E6</c:v>
                </c:pt>
                <c:pt idx="3">
                  <c:v>7.77683028313741E6</c:v>
                </c:pt>
                <c:pt idx="4">
                  <c:v>7.7498345671468E6</c:v>
                </c:pt>
                <c:pt idx="5">
                  <c:v>7.72296594278739E6</c:v>
                </c:pt>
                <c:pt idx="6">
                  <c:v>7.69622365496682E6</c:v>
                </c:pt>
                <c:pt idx="7">
                  <c:v>7.66960695400798E6</c:v>
                </c:pt>
                <c:pt idx="8">
                  <c:v>7.64311509560372E6</c:v>
                </c:pt>
                <c:pt idx="9">
                  <c:v>7.61674734077156E6</c:v>
                </c:pt>
                <c:pt idx="10">
                  <c:v>7.59050295580929E6</c:v>
                </c:pt>
                <c:pt idx="11">
                  <c:v>7.5643812122507E6</c:v>
                </c:pt>
                <c:pt idx="12">
                  <c:v>7.53838138682181E6</c:v>
                </c:pt>
                <c:pt idx="13">
                  <c:v>7.51250276139752E6</c:v>
                </c:pt>
                <c:pt idx="14">
                  <c:v>7.4867446229587E6</c:v>
                </c:pt>
                <c:pt idx="15">
                  <c:v>7.46110626354969E6</c:v>
                </c:pt>
                <c:pt idx="16">
                  <c:v>7.43558698023624E6</c:v>
                </c:pt>
                <c:pt idx="17">
                  <c:v>7.41018607506356E6</c:v>
                </c:pt>
                <c:pt idx="18">
                  <c:v>7.38490285501536E6</c:v>
                </c:pt>
                <c:pt idx="19">
                  <c:v>7.35973663197257E6</c:v>
                </c:pt>
                <c:pt idx="20">
                  <c:v>7.33468672267318E6</c:v>
                </c:pt>
                <c:pt idx="21">
                  <c:v>7.30975244867173E6</c:v>
                </c:pt>
                <c:pt idx="22">
                  <c:v>7.28493313629975E6</c:v>
                </c:pt>
                <c:pt idx="23">
                  <c:v>7.26022811662637E6</c:v>
                </c:pt>
                <c:pt idx="24">
                  <c:v>7.23563672541922E6</c:v>
                </c:pt>
                <c:pt idx="25">
                  <c:v>7.21115830310587E6</c:v>
                </c:pt>
                <c:pt idx="26">
                  <c:v>7.18679219473535E6</c:v>
                </c:pt>
                <c:pt idx="27">
                  <c:v>7.16253774994049E6</c:v>
                </c:pt>
                <c:pt idx="28">
                  <c:v>7.1383943229002E6</c:v>
                </c:pt>
                <c:pt idx="29">
                  <c:v>7.11436127230221E6</c:v>
                </c:pt>
                <c:pt idx="30">
                  <c:v>7.09043796130635E6</c:v>
                </c:pt>
                <c:pt idx="31">
                  <c:v>7.06662375750785E6</c:v>
                </c:pt>
                <c:pt idx="32">
                  <c:v>7.04291803290138E6</c:v>
                </c:pt>
                <c:pt idx="33">
                  <c:v>7.01932016384492E6</c:v>
                </c:pt>
                <c:pt idx="34">
                  <c:v>6.99582953102455E6</c:v>
                </c:pt>
                <c:pt idx="35">
                  <c:v>6.9724455194191E6</c:v>
                </c:pt>
                <c:pt idx="36">
                  <c:v>6.94916751826523E6</c:v>
                </c:pt>
                <c:pt idx="37">
                  <c:v>6.92599492102317E6</c:v>
                </c:pt>
                <c:pt idx="38">
                  <c:v>6.90292712534227E6</c:v>
                </c:pt>
                <c:pt idx="39">
                  <c:v>6.87996353302717E6</c:v>
                </c:pt>
                <c:pt idx="40">
                  <c:v>6.85710355000435E6</c:v>
                </c:pt>
                <c:pt idx="41">
                  <c:v>6.83434658628866E6</c:v>
                </c:pt>
                <c:pt idx="42">
                  <c:v>6.81169205595062E6</c:v>
                </c:pt>
                <c:pt idx="43">
                  <c:v>6.78913937708348E6</c:v>
                </c:pt>
                <c:pt idx="44">
                  <c:v>6.7666879717711E6</c:v>
                </c:pt>
                <c:pt idx="45">
                  <c:v>6.74433726605582E6</c:v>
                </c:pt>
                <c:pt idx="46">
                  <c:v>6.72208668990671E6</c:v>
                </c:pt>
                <c:pt idx="47">
                  <c:v>6.69993567718802E6</c:v>
                </c:pt>
                <c:pt idx="48">
                  <c:v>6.67788366562819E6</c:v>
                </c:pt>
                <c:pt idx="49">
                  <c:v>6.65593009678881E6</c:v>
                </c:pt>
                <c:pt idx="50">
                  <c:v>6.63407441603403E6</c:v>
                </c:pt>
                <c:pt idx="51">
                  <c:v>6.61231607250032E6</c:v>
                </c:pt>
                <c:pt idx="52">
                  <c:v>6.59065451906632E6</c:v>
                </c:pt>
                <c:pt idx="53">
                  <c:v>6.56908921232307E6</c:v>
                </c:pt>
                <c:pt idx="54">
                  <c:v>6.54761961254466E6</c:v>
                </c:pt>
                <c:pt idx="55">
                  <c:v>6.52624518365881E6</c:v>
                </c:pt>
                <c:pt idx="56">
                  <c:v>6.50496539321792E6</c:v>
                </c:pt>
                <c:pt idx="57">
                  <c:v>6.48377971237052E6</c:v>
                </c:pt>
                <c:pt idx="58">
                  <c:v>6.46268761583263E6</c:v>
                </c:pt>
                <c:pt idx="59">
                  <c:v>6.44168858185977E6</c:v>
                </c:pt>
                <c:pt idx="60">
                  <c:v>6.42078209221875E6</c:v>
                </c:pt>
                <c:pt idx="61">
                  <c:v>6.39996763216032E6</c:v>
                </c:pt>
                <c:pt idx="62">
                  <c:v>6.37924469039153E6</c:v>
                </c:pt>
                <c:pt idx="63">
                  <c:v>6.35861275904859E6</c:v>
                </c:pt>
                <c:pt idx="64">
                  <c:v>6.33807133366991E6</c:v>
                </c:pt>
                <c:pt idx="65">
                  <c:v>6.31761991316949E6</c:v>
                </c:pt>
                <c:pt idx="66">
                  <c:v>6.29725799981041E6</c:v>
                </c:pt>
                <c:pt idx="67">
                  <c:v>6.27698509917859E6</c:v>
                </c:pt>
                <c:pt idx="68">
                  <c:v>6.2568007201568E6</c:v>
                </c:pt>
                <c:pt idx="69">
                  <c:v>6.23670437489906E6</c:v>
                </c:pt>
                <c:pt idx="70">
                  <c:v>6.21669557880487E6</c:v>
                </c:pt>
                <c:pt idx="71">
                  <c:v>6.19677385049416E6</c:v>
                </c:pt>
                <c:pt idx="72">
                  <c:v>6.17693871178204E6</c:v>
                </c:pt>
                <c:pt idx="73">
                  <c:v>6.15718968765411E6</c:v>
                </c:pt>
                <c:pt idx="74">
                  <c:v>6.13752630624168E6</c:v>
                </c:pt>
                <c:pt idx="75">
                  <c:v>6.11794809879755E6</c:v>
                </c:pt>
                <c:pt idx="76">
                  <c:v>6.09845459967168E6</c:v>
                </c:pt>
                <c:pt idx="77">
                  <c:v>6.07904534628732E6</c:v>
                </c:pt>
                <c:pt idx="78">
                  <c:v>6.05971987911713E6</c:v>
                </c:pt>
                <c:pt idx="79">
                  <c:v>6.04047774165979E6</c:v>
                </c:pt>
                <c:pt idx="80">
                  <c:v>6.02131848041655E6</c:v>
                </c:pt>
                <c:pt idx="81">
                  <c:v>6.0022416448681E6</c:v>
                </c:pt>
                <c:pt idx="82">
                  <c:v>5.98324678745177E6</c:v>
                </c:pt>
                <c:pt idx="83">
                  <c:v>5.96433346353862E6</c:v>
                </c:pt>
                <c:pt idx="84">
                  <c:v>5.94550123141099E6</c:v>
                </c:pt>
                <c:pt idx="85">
                  <c:v>5.92674965224027E6</c:v>
                </c:pt>
                <c:pt idx="86">
                  <c:v>5.90807829006464E6</c:v>
                </c:pt>
                <c:pt idx="87">
                  <c:v>5.88948671176719E6</c:v>
                </c:pt>
                <c:pt idx="88">
                  <c:v>5.87097448705413E6</c:v>
                </c:pt>
                <c:pt idx="89">
                  <c:v>5.85254118843334E6</c:v>
                </c:pt>
                <c:pt idx="90">
                  <c:v>5.83418639119285E6</c:v>
                </c:pt>
                <c:pt idx="91">
                  <c:v>5.81590967337985E6</c:v>
                </c:pt>
                <c:pt idx="92">
                  <c:v>5.79771061577948E6</c:v>
                </c:pt>
                <c:pt idx="93">
                  <c:v>5.77958880189425E6</c:v>
                </c:pt>
                <c:pt idx="94">
                  <c:v>5.76154381792321E6</c:v>
                </c:pt>
                <c:pt idx="95">
                  <c:v>5.74357525274159E6</c:v>
                </c:pt>
                <c:pt idx="96">
                  <c:v>5.72568269788056E6</c:v>
                </c:pt>
                <c:pt idx="97">
                  <c:v>5.70786574750712E6</c:v>
                </c:pt>
                <c:pt idx="98">
                  <c:v>5.69012399840406E6</c:v>
                </c:pt>
                <c:pt idx="99">
                  <c:v>5.67245704995041E6</c:v>
                </c:pt>
                <c:pt idx="100">
                  <c:v>5.65486450410164E6</c:v>
                </c:pt>
                <c:pt idx="101">
                  <c:v>5.63734596537053E6</c:v>
                </c:pt>
                <c:pt idx="102">
                  <c:v>5.61990104080757E6</c:v>
                </c:pt>
                <c:pt idx="103">
                  <c:v>5.60252933998223E6</c:v>
                </c:pt>
                <c:pt idx="104">
                  <c:v>5.58523047496386E6</c:v>
                </c:pt>
                <c:pt idx="105">
                  <c:v>5.56800406030293E6</c:v>
                </c:pt>
                <c:pt idx="106">
                  <c:v>5.55084971301254E6</c:v>
                </c:pt>
                <c:pt idx="107">
                  <c:v>5.53376705254996E6</c:v>
                </c:pt>
                <c:pt idx="108">
                  <c:v>5.51675570079826E6</c:v>
                </c:pt>
                <c:pt idx="109">
                  <c:v>5.49981528204839E6</c:v>
                </c:pt>
                <c:pt idx="110">
                  <c:v>5.48294542298102E6</c:v>
                </c:pt>
                <c:pt idx="111">
                  <c:v>5.46614575264887E6</c:v>
                </c:pt>
                <c:pt idx="112">
                  <c:v>5.44941590245901E6</c:v>
                </c:pt>
                <c:pt idx="113">
                  <c:v>5.43275550615532E6</c:v>
                </c:pt>
                <c:pt idx="114">
                  <c:v>5.41616419980126E6</c:v>
                </c:pt>
                <c:pt idx="115">
                  <c:v>5.3996416217625E6</c:v>
                </c:pt>
                <c:pt idx="116">
                  <c:v>5.38318741268997E6</c:v>
                </c:pt>
                <c:pt idx="117">
                  <c:v>5.36680121550294E6</c:v>
                </c:pt>
                <c:pt idx="118">
                  <c:v>5.35048267537216E6</c:v>
                </c:pt>
                <c:pt idx="119">
                  <c:v>5.33423143970342E6</c:v>
                </c:pt>
                <c:pt idx="120">
                  <c:v>5.31804715812078E6</c:v>
                </c:pt>
                <c:pt idx="121">
                  <c:v>5.3019294824505E6</c:v>
                </c:pt>
                <c:pt idx="122">
                  <c:v>5.28587806670466E6</c:v>
                </c:pt>
                <c:pt idx="123">
                  <c:v>5.26989256706513E6</c:v>
                </c:pt>
                <c:pt idx="124">
                  <c:v>5.25397264186763E6</c:v>
                </c:pt>
                <c:pt idx="125">
                  <c:v>5.23811795158599E6</c:v>
                </c:pt>
                <c:pt idx="126">
                  <c:v>5.22232815881634E6</c:v>
                </c:pt>
                <c:pt idx="127">
                  <c:v>5.20660292826168E6</c:v>
                </c:pt>
                <c:pt idx="128">
                  <c:v>5.19094192671645E6</c:v>
                </c:pt>
                <c:pt idx="129">
                  <c:v>5.17534482305125E6</c:v>
                </c:pt>
                <c:pt idx="130">
                  <c:v>5.15981128819764E6</c:v>
                </c:pt>
                <c:pt idx="131">
                  <c:v>5.14434099513316E6</c:v>
                </c:pt>
                <c:pt idx="132">
                  <c:v>5.12893361886645E6</c:v>
                </c:pt>
                <c:pt idx="133">
                  <c:v>5.11358883642241E6</c:v>
                </c:pt>
                <c:pt idx="134">
                  <c:v>5.0983063268276E6</c:v>
                </c:pt>
                <c:pt idx="135">
                  <c:v>5.08308577109569E6</c:v>
                </c:pt>
                <c:pt idx="136">
                  <c:v>5.06792685221307E6</c:v>
                </c:pt>
                <c:pt idx="137">
                  <c:v>5.05282925512448E6</c:v>
                </c:pt>
                <c:pt idx="138">
                  <c:v>5.03779266671896E6</c:v>
                </c:pt>
                <c:pt idx="139">
                  <c:v>5.02281677581571E6</c:v>
                </c:pt>
                <c:pt idx="140">
                  <c:v>5.00790127315017E6</c:v>
                </c:pt>
                <c:pt idx="141">
                  <c:v>4.99304585136027E6</c:v>
                </c:pt>
                <c:pt idx="142">
                  <c:v>4.97825020497256E6</c:v>
                </c:pt>
                <c:pt idx="143">
                  <c:v>4.96351403038877E6</c:v>
                </c:pt>
                <c:pt idx="144">
                  <c:v>4.9488370258723E6</c:v>
                </c:pt>
                <c:pt idx="145">
                  <c:v>4.93421889153473E6</c:v>
                </c:pt>
                <c:pt idx="146">
                  <c:v>4.91965932932275E6</c:v>
                </c:pt>
                <c:pt idx="147">
                  <c:v>4.90515804300482E6</c:v>
                </c:pt>
                <c:pt idx="148">
                  <c:v>4.89071473815828E6</c:v>
                </c:pt>
                <c:pt idx="149">
                  <c:v>4.87632912215627E6</c:v>
                </c:pt>
                <c:pt idx="150">
                  <c:v>4.86200090415507E6</c:v>
                </c:pt>
                <c:pt idx="151">
                  <c:v>4.8477297950812E6</c:v>
                </c:pt>
                <c:pt idx="152">
                  <c:v>4.8335155076189E6</c:v>
                </c:pt>
                <c:pt idx="153">
                  <c:v>4.81935775619756E6</c:v>
                </c:pt>
                <c:pt idx="154">
                  <c:v>4.80525625697937E6</c:v>
                </c:pt>
                <c:pt idx="155">
                  <c:v>4.79121072784696E6</c:v>
                </c:pt>
                <c:pt idx="156">
                  <c:v>4.77722088839116E6</c:v>
                </c:pt>
                <c:pt idx="157">
                  <c:v>4.7632864598989E6</c:v>
                </c:pt>
                <c:pt idx="158">
                  <c:v>4.74940716534126E6</c:v>
                </c:pt>
                <c:pt idx="159">
                  <c:v>4.73558272936146E6</c:v>
                </c:pt>
                <c:pt idx="160">
                  <c:v>4.72181287826306E6</c:v>
                </c:pt>
                <c:pt idx="161">
                  <c:v>4.70809733999827E6</c:v>
                </c:pt>
                <c:pt idx="162">
                  <c:v>4.69443584415629E6</c:v>
                </c:pt>
                <c:pt idx="163">
                  <c:v>4.68082812195175E6</c:v>
                </c:pt>
                <c:pt idx="164">
                  <c:v>4.66727390621332E6</c:v>
                </c:pt>
                <c:pt idx="165">
                  <c:v>4.65377293137229E6</c:v>
                </c:pt>
                <c:pt idx="166">
                  <c:v>4.6403249334514E6</c:v>
                </c:pt>
                <c:pt idx="167">
                  <c:v>4.62692965005353E6</c:v>
                </c:pt>
                <c:pt idx="168">
                  <c:v>4.61358682035079E6</c:v>
                </c:pt>
                <c:pt idx="169">
                  <c:v>4.60029618507335E6</c:v>
                </c:pt>
                <c:pt idx="170">
                  <c:v>4.58705748649874E6</c:v>
                </c:pt>
                <c:pt idx="171">
                  <c:v>4.57387046844083E6</c:v>
                </c:pt>
                <c:pt idx="172">
                  <c:v>4.56073487623925E6</c:v>
                </c:pt>
                <c:pt idx="173">
                  <c:v>4.54765045674862E6</c:v>
                </c:pt>
                <c:pt idx="174">
                  <c:v>4.53461695832815E6</c:v>
                </c:pt>
                <c:pt idx="175">
                  <c:v>4.52163413083099E6</c:v>
                </c:pt>
                <c:pt idx="176">
                  <c:v>4.50870172559401E6</c:v>
                </c:pt>
                <c:pt idx="177">
                  <c:v>4.49581949542731E6</c:v>
                </c:pt>
                <c:pt idx="178">
                  <c:v>4.48298719460417E6</c:v>
                </c:pt>
                <c:pt idx="179">
                  <c:v>4.47020457885083E6</c:v>
                </c:pt>
                <c:pt idx="180">
                  <c:v>4.4574714053364E6</c:v>
                </c:pt>
                <c:pt idx="181">
                  <c:v>4.44478743266285E6</c:v>
                </c:pt>
                <c:pt idx="182">
                  <c:v>4.43215242085526E6</c:v>
                </c:pt>
                <c:pt idx="183">
                  <c:v>4.41956613135182E6</c:v>
                </c:pt>
                <c:pt idx="184">
                  <c:v>4.40702832699417E6</c:v>
                </c:pt>
                <c:pt idx="185">
                  <c:v>4.39453877201769E6</c:v>
                </c:pt>
                <c:pt idx="186">
                  <c:v>4.38209723204197E6</c:v>
                </c:pt>
                <c:pt idx="187">
                  <c:v>4.36970347406121E6</c:v>
                </c:pt>
                <c:pt idx="188">
                  <c:v>4.35735726643482E6</c:v>
                </c:pt>
                <c:pt idx="189">
                  <c:v>4.34505837887805E6</c:v>
                </c:pt>
                <c:pt idx="190">
                  <c:v>4.3328065824527E6</c:v>
                </c:pt>
                <c:pt idx="191">
                  <c:v>4.3206016495578E6</c:v>
                </c:pt>
                <c:pt idx="192">
                  <c:v>4.30844335392067E6</c:v>
                </c:pt>
                <c:pt idx="193">
                  <c:v>4.29633147058761E6</c:v>
                </c:pt>
                <c:pt idx="194">
                  <c:v>4.28426577591503E6</c:v>
                </c:pt>
                <c:pt idx="195">
                  <c:v>4.27224604756051E6</c:v>
                </c:pt>
                <c:pt idx="196">
                  <c:v>4.26027206447385E6</c:v>
                </c:pt>
                <c:pt idx="197">
                  <c:v>4.24834360688834E6</c:v>
                </c:pt>
                <c:pt idx="198">
                  <c:v>4.236460456312E6</c:v>
                </c:pt>
                <c:pt idx="199">
                  <c:v>4.22462239551896E6</c:v>
                </c:pt>
                <c:pt idx="200">
                  <c:v>4.21282920854083E6</c:v>
                </c:pt>
                <c:pt idx="201">
                  <c:v>4.20108068065816E6</c:v>
                </c:pt>
                <c:pt idx="202">
                  <c:v>4.18937659839199E6</c:v>
                </c:pt>
                <c:pt idx="203">
                  <c:v>4.1777167494955E6</c:v>
                </c:pt>
                <c:pt idx="204">
                  <c:v>4.16610092294564E6</c:v>
                </c:pt>
                <c:pt idx="205">
                  <c:v>4.15452890893482E6</c:v>
                </c:pt>
                <c:pt idx="206">
                  <c:v>4.14300049886281E6</c:v>
                </c:pt>
                <c:pt idx="207">
                  <c:v>4.13151548532852E6</c:v>
                </c:pt>
                <c:pt idx="208">
                  <c:v>4.12007366212195E6</c:v>
                </c:pt>
                <c:pt idx="209">
                  <c:v>4.10867482421621E6</c:v>
                </c:pt>
                <c:pt idx="210">
                  <c:v>4.09731876775949E6</c:v>
                </c:pt>
                <c:pt idx="211">
                  <c:v>4.08600529006724E6</c:v>
                </c:pt>
                <c:pt idx="212">
                  <c:v>4.07473418961433E6</c:v>
                </c:pt>
                <c:pt idx="213">
                  <c:v>4.06350526602728E6</c:v>
                </c:pt>
                <c:pt idx="214">
                  <c:v>4.0523183200765E6</c:v>
                </c:pt>
                <c:pt idx="215">
                  <c:v>4.0411731536687E6</c:v>
                </c:pt>
                <c:pt idx="216">
                  <c:v>4.0300695698393E6</c:v>
                </c:pt>
                <c:pt idx="217">
                  <c:v>4.01900737274483E6</c:v>
                </c:pt>
                <c:pt idx="218">
                  <c:v>4.00798636765552E6</c:v>
                </c:pt>
                <c:pt idx="219">
                  <c:v>3.9970063609479E6</c:v>
                </c:pt>
                <c:pt idx="220">
                  <c:v>3.98606716009731E6</c:v>
                </c:pt>
                <c:pt idx="221">
                  <c:v>3.97516857367077E6</c:v>
                </c:pt>
                <c:pt idx="222">
                  <c:v>3.9643104113196E6</c:v>
                </c:pt>
                <c:pt idx="223">
                  <c:v>3.95349248377225E6</c:v>
                </c:pt>
                <c:pt idx="224">
                  <c:v>3.94271460282722E6</c:v>
                </c:pt>
                <c:pt idx="225">
                  <c:v>3.93197658134589E6</c:v>
                </c:pt>
                <c:pt idx="226">
                  <c:v>3.92127823324558E6</c:v>
                </c:pt>
                <c:pt idx="227">
                  <c:v>3.91061937349243E6</c:v>
                </c:pt>
                <c:pt idx="228">
                  <c:v>3.89999981809466E6</c:v>
                </c:pt>
                <c:pt idx="229">
                  <c:v>3.88941938409552E6</c:v>
                </c:pt>
                <c:pt idx="230">
                  <c:v>3.87887788956661E6</c:v>
                </c:pt>
                <c:pt idx="231">
                  <c:v>3.868375153601E6</c:v>
                </c:pt>
                <c:pt idx="232">
                  <c:v>3.8579109963066E6</c:v>
                </c:pt>
                <c:pt idx="233">
                  <c:v>3.8474852387994E6</c:v>
                </c:pt>
                <c:pt idx="234">
                  <c:v>3.83709770319693E6</c:v>
                </c:pt>
                <c:pt idx="235">
                  <c:v>3.82674821261167E6</c:v>
                </c:pt>
                <c:pt idx="236">
                  <c:v>3.81643659114448E6</c:v>
                </c:pt>
                <c:pt idx="237">
                  <c:v>3.80616266387823E6</c:v>
                </c:pt>
                <c:pt idx="238">
                  <c:v>3.7959262568713E6</c:v>
                </c:pt>
                <c:pt idx="239">
                  <c:v>3.7857271971512E6</c:v>
                </c:pt>
                <c:pt idx="240">
                  <c:v>3.77556531270829E6</c:v>
                </c:pt>
                <c:pt idx="241">
                  <c:v>3.7654404324895E6</c:v>
                </c:pt>
                <c:pt idx="242">
                  <c:v>3.75535238639208E6</c:v>
                </c:pt>
                <c:pt idx="243">
                  <c:v>3.7453010052574E6</c:v>
                </c:pt>
                <c:pt idx="244">
                  <c:v>3.73528612086482E6</c:v>
                </c:pt>
                <c:pt idx="245">
                  <c:v>3.72530756592561E6</c:v>
                </c:pt>
                <c:pt idx="246">
                  <c:v>3.71536517407692E6</c:v>
                </c:pt>
                <c:pt idx="247">
                  <c:v>3.70545877987575E6</c:v>
                </c:pt>
                <c:pt idx="248">
                  <c:v>3.695588218793E6</c:v>
                </c:pt>
                <c:pt idx="249">
                  <c:v>3.68575332720747E6</c:v>
                </c:pt>
                <c:pt idx="250">
                  <c:v>3.6759539424002E6</c:v>
                </c:pt>
                <c:pt idx="251">
                  <c:v>3.66618990254844E6</c:v>
                </c:pt>
                <c:pt idx="252">
                  <c:v>3.65646104671995E6</c:v>
                </c:pt>
                <c:pt idx="253">
                  <c:v>3.64676721486728E6</c:v>
                </c:pt>
                <c:pt idx="254">
                  <c:v>3.637108247822E6</c:v>
                </c:pt>
                <c:pt idx="255">
                  <c:v>3.6274839872891E6</c:v>
                </c:pt>
                <c:pt idx="256">
                  <c:v>3.6178942758414E6</c:v>
                </c:pt>
                <c:pt idx="257">
                  <c:v>3.60833895691388E6</c:v>
                </c:pt>
                <c:pt idx="258">
                  <c:v>3.59881787479826E6</c:v>
                </c:pt>
                <c:pt idx="259">
                  <c:v>3.58933087463742E6</c:v>
                </c:pt>
                <c:pt idx="260">
                  <c:v>3.57987780242E6</c:v>
                </c:pt>
                <c:pt idx="261">
                  <c:v>3.57045850497497E6</c:v>
                </c:pt>
                <c:pt idx="262">
                  <c:v>3.56107282996625E6</c:v>
                </c:pt>
                <c:pt idx="263">
                  <c:v>3.55172062588742E6</c:v>
                </c:pt>
                <c:pt idx="264">
                  <c:v>3.54240174205638E6</c:v>
                </c:pt>
                <c:pt idx="265">
                  <c:v>3.5331160286101E6</c:v>
                </c:pt>
                <c:pt idx="266">
                  <c:v>3.52386333649943E6</c:v>
                </c:pt>
                <c:pt idx="267">
                  <c:v>3.51464351748389E6</c:v>
                </c:pt>
                <c:pt idx="268">
                  <c:v>3.50545642412659E6</c:v>
                </c:pt>
                <c:pt idx="269">
                  <c:v>3.49630190978907E6</c:v>
                </c:pt>
                <c:pt idx="270">
                  <c:v>3.48717982862621E6</c:v>
                </c:pt>
                <c:pt idx="271">
                  <c:v>3.47809003558129E6</c:v>
                </c:pt>
                <c:pt idx="272">
                  <c:v>3.46903238638094E6</c:v>
                </c:pt>
                <c:pt idx="273">
                  <c:v>3.46000673753017E6</c:v>
                </c:pt>
                <c:pt idx="274">
                  <c:v>3.4510129463075E6</c:v>
                </c:pt>
                <c:pt idx="275">
                  <c:v>3.44205087076003E6</c:v>
                </c:pt>
                <c:pt idx="276">
                  <c:v>3.43312036969862E6</c:v>
                </c:pt>
                <c:pt idx="277">
                  <c:v>3.42422130269308E6</c:v>
                </c:pt>
                <c:pt idx="278">
                  <c:v>3.41535353006735E6</c:v>
                </c:pt>
                <c:pt idx="279">
                  <c:v>3.4065169128948E6</c:v>
                </c:pt>
                <c:pt idx="280">
                  <c:v>3.3977113129935E6</c:v>
                </c:pt>
                <c:pt idx="281">
                  <c:v>3.38893659292152E6</c:v>
                </c:pt>
                <c:pt idx="282">
                  <c:v>3.38019261597236E6</c:v>
                </c:pt>
                <c:pt idx="283">
                  <c:v>3.37147924617025E6</c:v>
                </c:pt>
                <c:pt idx="284">
                  <c:v>3.36279634826564E6</c:v>
                </c:pt>
                <c:pt idx="285">
                  <c:v>3.35414378773065E6</c:v>
                </c:pt>
                <c:pt idx="286">
                  <c:v>3.34552143075449E6</c:v>
                </c:pt>
                <c:pt idx="287">
                  <c:v>3.33692914423906E6</c:v>
                </c:pt>
                <c:pt idx="288">
                  <c:v>3.32836679579452E6</c:v>
                </c:pt>
                <c:pt idx="289">
                  <c:v>3.31983425373473E6</c:v>
                </c:pt>
                <c:pt idx="290">
                  <c:v>3.3113313870731E6</c:v>
                </c:pt>
                <c:pt idx="291">
                  <c:v>3.30285806551796E6</c:v>
                </c:pt>
                <c:pt idx="292">
                  <c:v>3.29441415946852E6</c:v>
                </c:pt>
                <c:pt idx="293">
                  <c:v>3.28599954001038E6</c:v>
                </c:pt>
                <c:pt idx="294">
                  <c:v>3.27761407891135E6</c:v>
                </c:pt>
                <c:pt idx="295">
                  <c:v>3.2692576486172E6</c:v>
                </c:pt>
                <c:pt idx="296">
                  <c:v>3.26093012224744E6</c:v>
                </c:pt>
                <c:pt idx="297">
                  <c:v>3.25263137359126E6</c:v>
                </c:pt>
                <c:pt idx="298">
                  <c:v>3.24436127710322E6</c:v>
                </c:pt>
                <c:pt idx="299">
                  <c:v>3.2361197078993E6</c:v>
                </c:pt>
                <c:pt idx="300">
                  <c:v>3.22790654175267E6</c:v>
                </c:pt>
                <c:pt idx="301">
                  <c:v>3.21972165508978E6</c:v>
                </c:pt>
                <c:pt idx="302">
                  <c:v>3.21156492498624E6</c:v>
                </c:pt>
                <c:pt idx="303">
                  <c:v>3.20343622916288E6</c:v>
                </c:pt>
                <c:pt idx="304">
                  <c:v>3.19533544598172E6</c:v>
                </c:pt>
                <c:pt idx="305">
                  <c:v>3.1872624544421E6</c:v>
                </c:pt>
                <c:pt idx="306">
                  <c:v>3.17921713417671E6</c:v>
                </c:pt>
                <c:pt idx="307">
                  <c:v>3.17119936544775E6</c:v>
                </c:pt>
                <c:pt idx="308">
                  <c:v>3.16320902914305E6</c:v>
                </c:pt>
                <c:pt idx="309">
                  <c:v>3.15524600677225E6</c:v>
                </c:pt>
                <c:pt idx="310">
                  <c:v>3.147310180463E6</c:v>
                </c:pt>
                <c:pt idx="311">
                  <c:v>3.13940143295714E6</c:v>
                </c:pt>
                <c:pt idx="312">
                  <c:v>3.13151964760703E6</c:v>
                </c:pt>
                <c:pt idx="313">
                  <c:v>3.12366470837177E6</c:v>
                </c:pt>
                <c:pt idx="314">
                  <c:v>3.1158364998135E6</c:v>
                </c:pt>
                <c:pt idx="315">
                  <c:v>3.10803490709377E6</c:v>
                </c:pt>
                <c:pt idx="316">
                  <c:v>3.10025981596984E6</c:v>
                </c:pt>
                <c:pt idx="317">
                  <c:v>3.09251111279111E6</c:v>
                </c:pt>
                <c:pt idx="318">
                  <c:v>3.08478868449552E6</c:v>
                </c:pt>
                <c:pt idx="319">
                  <c:v>3.07709241860589E6</c:v>
                </c:pt>
                <c:pt idx="320">
                  <c:v>3.06942220322652E6</c:v>
                </c:pt>
                <c:pt idx="321">
                  <c:v>3.06177792703957E6</c:v>
                </c:pt>
                <c:pt idx="322">
                  <c:v>3.05415947930159E6</c:v>
                </c:pt>
                <c:pt idx="323">
                  <c:v>3.04656674984003E6</c:v>
                </c:pt>
                <c:pt idx="324">
                  <c:v>3.03899962904983E6</c:v>
                </c:pt>
                <c:pt idx="325">
                  <c:v>3.03145800788998E6</c:v>
                </c:pt>
                <c:pt idx="326">
                  <c:v>3.02394177788008E6</c:v>
                </c:pt>
                <c:pt idx="327">
                  <c:v>3.01645083109704E6</c:v>
                </c:pt>
                <c:pt idx="328">
                  <c:v>3.00898506017165E6</c:v>
                </c:pt>
                <c:pt idx="329">
                  <c:v>3.0015443582853E6</c:v>
                </c:pt>
                <c:pt idx="330">
                  <c:v>2.99412861916664E6</c:v>
                </c:pt>
                <c:pt idx="331">
                  <c:v>2.98673773708831E6</c:v>
                </c:pt>
                <c:pt idx="332">
                  <c:v>2.9793716068637E6</c:v>
                </c:pt>
                <c:pt idx="333">
                  <c:v>2.97203012384366E6</c:v>
                </c:pt>
                <c:pt idx="334">
                  <c:v>2.96471318391335E6</c:v>
                </c:pt>
                <c:pt idx="335">
                  <c:v>2.95742068348893E6</c:v>
                </c:pt>
                <c:pt idx="336">
                  <c:v>2.95015251951452E6</c:v>
                </c:pt>
                <c:pt idx="337">
                  <c:v>2.942908589459E6</c:v>
                </c:pt>
                <c:pt idx="338">
                  <c:v>2.93568879131283E6</c:v>
                </c:pt>
                <c:pt idx="339">
                  <c:v>2.92849302358497E6</c:v>
                </c:pt>
                <c:pt idx="340">
                  <c:v>2.92132118529984E6</c:v>
                </c:pt>
                <c:pt idx="341">
                  <c:v>2.91417317599421E6</c:v>
                </c:pt>
                <c:pt idx="342">
                  <c:v>2.90704889571413E6</c:v>
                </c:pt>
                <c:pt idx="343">
                  <c:v>2.89994824501195E6</c:v>
                </c:pt>
                <c:pt idx="344">
                  <c:v>2.89287112494331E6</c:v>
                </c:pt>
                <c:pt idx="345">
                  <c:v>2.88581743706411E6</c:v>
                </c:pt>
                <c:pt idx="346">
                  <c:v>2.87878708342765E6</c:v>
                </c:pt>
                <c:pt idx="347">
                  <c:v>2.87177996658156E6</c:v>
                </c:pt>
                <c:pt idx="348">
                  <c:v>2.86479598956495E6</c:v>
                </c:pt>
                <c:pt idx="349">
                  <c:v>2.85783505590547E6</c:v>
                </c:pt>
                <c:pt idx="350">
                  <c:v>2.8508970696165E6</c:v>
                </c:pt>
                <c:pt idx="351">
                  <c:v>2.8439819351942E6</c:v>
                </c:pt>
                <c:pt idx="352">
                  <c:v>2.83708955761468E6</c:v>
                </c:pt>
                <c:pt idx="353">
                  <c:v>2.83021984233124E6</c:v>
                </c:pt>
                <c:pt idx="354">
                  <c:v>2.82337269527145E6</c:v>
                </c:pt>
                <c:pt idx="355">
                  <c:v>2.8165480228345E6</c:v>
                </c:pt>
                <c:pt idx="356">
                  <c:v>2.80974573188828E6</c:v>
                </c:pt>
                <c:pt idx="357">
                  <c:v>2.80296572976678E6</c:v>
                </c:pt>
                <c:pt idx="358">
                  <c:v>2.79620792426724E6</c:v>
                </c:pt>
                <c:pt idx="359">
                  <c:v>2.78947222364747E6</c:v>
                </c:pt>
                <c:pt idx="360">
                  <c:v>2.78275853662321E6</c:v>
                </c:pt>
                <c:pt idx="361">
                  <c:v>2.77606677236536E6</c:v>
                </c:pt>
                <c:pt idx="362">
                  <c:v>2.76939684049741E6</c:v>
                </c:pt>
                <c:pt idx="363">
                  <c:v>2.76274865109274E6</c:v>
                </c:pt>
                <c:pt idx="364">
                  <c:v>2.75612211467201E6</c:v>
                </c:pt>
                <c:pt idx="365">
                  <c:v>2.74951714220054E6</c:v>
                </c:pt>
                <c:pt idx="366">
                  <c:v>2.74293364508577E6</c:v>
                </c:pt>
                <c:pt idx="367">
                  <c:v>2.73637153517462E6</c:v>
                </c:pt>
                <c:pt idx="368">
                  <c:v>2.72983072475102E6</c:v>
                </c:pt>
                <c:pt idx="369">
                  <c:v>2.7233111265333E6</c:v>
                </c:pt>
                <c:pt idx="370">
                  <c:v>2.71681265367163E6</c:v>
                </c:pt>
                <c:pt idx="371">
                  <c:v>2.7103352197457E6</c:v>
                </c:pt>
                <c:pt idx="372">
                  <c:v>2.703878738762E6</c:v>
                </c:pt>
                <c:pt idx="373">
                  <c:v>2.69744312515153E6</c:v>
                </c:pt>
                <c:pt idx="374">
                  <c:v>2.69102829376723E6</c:v>
                </c:pt>
                <c:pt idx="375">
                  <c:v>2.68463415988165E6</c:v>
                </c:pt>
                <c:pt idx="376">
                  <c:v>2.67826063918439E6</c:v>
                </c:pt>
                <c:pt idx="377">
                  <c:v>2.67190764777984E6</c:v>
                </c:pt>
                <c:pt idx="378">
                  <c:v>2.66557510218464E6</c:v>
                </c:pt>
                <c:pt idx="379">
                  <c:v>2.65926291932546E6</c:v>
                </c:pt>
                <c:pt idx="380">
                  <c:v>2.65297101653654E6</c:v>
                </c:pt>
                <c:pt idx="381">
                  <c:v>2.64669931155737E6</c:v>
                </c:pt>
                <c:pt idx="382">
                  <c:v>2.64044772253036E6</c:v>
                </c:pt>
                <c:pt idx="383">
                  <c:v>2.63421616799857E6</c:v>
                </c:pt>
                <c:pt idx="384">
                  <c:v>2.62800456690332E6</c:v>
                </c:pt>
                <c:pt idx="385">
                  <c:v>2.62181283858201E6</c:v>
                </c:pt>
                <c:pt idx="386">
                  <c:v>2.61564090276579E6</c:v>
                </c:pt>
                <c:pt idx="387">
                  <c:v>2.60948867957734E6</c:v>
                </c:pt>
                <c:pt idx="388">
                  <c:v>2.6033560895286E6</c:v>
                </c:pt>
                <c:pt idx="389">
                  <c:v>2.59724305351857E6</c:v>
                </c:pt>
                <c:pt idx="390">
                  <c:v>2.59114949283112E6</c:v>
                </c:pt>
                <c:pt idx="391">
                  <c:v>2.58507532913274E6</c:v>
                </c:pt>
                <c:pt idx="392">
                  <c:v>2.5790204844704E6</c:v>
                </c:pt>
                <c:pt idx="393">
                  <c:v>2.57298488126944E6</c:v>
                </c:pt>
                <c:pt idx="394">
                  <c:v>2.56696844233125E6</c:v>
                </c:pt>
                <c:pt idx="395">
                  <c:v>2.56097109083134E6</c:v>
                </c:pt>
                <c:pt idx="396">
                  <c:v>2.55499275031706E6</c:v>
                </c:pt>
                <c:pt idx="397">
                  <c:v>2.5490333447056E6</c:v>
                </c:pt>
                <c:pt idx="398">
                  <c:v>2.54309279828176E6</c:v>
                </c:pt>
                <c:pt idx="399">
                  <c:v>2.53717103569605E6</c:v>
                </c:pt>
                <c:pt idx="400">
                  <c:v>2.53126798196247E6</c:v>
                </c:pt>
                <c:pt idx="401">
                  <c:v>2.5253835624565E6</c:v>
                </c:pt>
                <c:pt idx="402">
                  <c:v>2.5195177029131E6</c:v>
                </c:pt>
                <c:pt idx="403">
                  <c:v>2.51367032942461E6</c:v>
                </c:pt>
                <c:pt idx="404">
                  <c:v>2.50784136843881E6</c:v>
                </c:pt>
                <c:pt idx="405">
                  <c:v>2.50203074675686E6</c:v>
                </c:pt>
                <c:pt idx="406">
                  <c:v>2.49623839153133E6</c:v>
                </c:pt>
                <c:pt idx="407">
                  <c:v>2.49046423026424E6</c:v>
                </c:pt>
                <c:pt idx="408">
                  <c:v>2.48470819080506E6</c:v>
                </c:pt>
                <c:pt idx="409">
                  <c:v>2.4789702013488E6</c:v>
                </c:pt>
                <c:pt idx="410">
                  <c:v>2.47325019043403E6</c:v>
                </c:pt>
                <c:pt idx="411">
                  <c:v>2.46754808694098E6</c:v>
                </c:pt>
                <c:pt idx="412">
                  <c:v>2.46186382008963E6</c:v>
                </c:pt>
                <c:pt idx="413">
                  <c:v>2.45619731943779E6</c:v>
                </c:pt>
                <c:pt idx="414">
                  <c:v>2.45054851487924E6</c:v>
                </c:pt>
                <c:pt idx="415">
                  <c:v>2.44491733664181E6</c:v>
                </c:pt>
                <c:pt idx="416">
                  <c:v>2.43930371528555E6</c:v>
                </c:pt>
                <c:pt idx="417">
                  <c:v>2.43370758170085E6</c:v>
                </c:pt>
                <c:pt idx="418">
                  <c:v>2.42812886710661E6</c:v>
                </c:pt>
                <c:pt idx="419">
                  <c:v>2.42256750304845E6</c:v>
                </c:pt>
                <c:pt idx="420">
                  <c:v>2.41702342139682E6</c:v>
                </c:pt>
                <c:pt idx="421">
                  <c:v>2.41149655434526E6</c:v>
                </c:pt>
                <c:pt idx="422">
                  <c:v>2.40598683440852E6</c:v>
                </c:pt>
                <c:pt idx="423">
                  <c:v>2.4004941944209E6</c:v>
                </c:pt>
                <c:pt idx="424">
                  <c:v>2.39501856753437E6</c:v>
                </c:pt>
                <c:pt idx="425">
                  <c:v>2.38955988721683E6</c:v>
                </c:pt>
                <c:pt idx="426">
                  <c:v>2.38411808725042E6</c:v>
                </c:pt>
                <c:pt idx="427">
                  <c:v>2.37869310172973E6</c:v>
                </c:pt>
                <c:pt idx="428">
                  <c:v>2.37328486506006E6</c:v>
                </c:pt>
                <c:pt idx="429">
                  <c:v>2.36789331195575E6</c:v>
                </c:pt>
                <c:pt idx="430">
                  <c:v>2.36251837743843E6</c:v>
                </c:pt>
                <c:pt idx="431">
                  <c:v>2.35715999683537E6</c:v>
                </c:pt>
                <c:pt idx="432">
                  <c:v>2.35181810577778E6</c:v>
                </c:pt>
                <c:pt idx="433">
                  <c:v>2.34649264019905E6</c:v>
                </c:pt>
                <c:pt idx="434">
                  <c:v>2.34118353633328E6</c:v>
                </c:pt>
                <c:pt idx="435">
                  <c:v>2.33589073071343E6</c:v>
                </c:pt>
                <c:pt idx="436">
                  <c:v>2.33061416016978E6</c:v>
                </c:pt>
                <c:pt idx="437">
                  <c:v>2.3253537618283E6</c:v>
                </c:pt>
                <c:pt idx="438">
                  <c:v>2.32010947310898E6</c:v>
                </c:pt>
                <c:pt idx="439">
                  <c:v>2.31488123172427E6</c:v>
                </c:pt>
                <c:pt idx="440">
                  <c:v>2.30966897567743E6</c:v>
                </c:pt>
                <c:pt idx="441">
                  <c:v>2.304472643261E6</c:v>
                </c:pt>
                <c:pt idx="442">
                  <c:v>2.29929217305513E6</c:v>
                </c:pt>
                <c:pt idx="443">
                  <c:v>2.29412750392612E6</c:v>
                </c:pt>
                <c:pt idx="444">
                  <c:v>2.28897857502477E6</c:v>
                </c:pt>
                <c:pt idx="445">
                  <c:v>2.28384532578485E6</c:v>
                </c:pt>
                <c:pt idx="446">
                  <c:v>2.27872769592158E6</c:v>
                </c:pt>
                <c:pt idx="447">
                  <c:v>2.27362562543009E6</c:v>
                </c:pt>
                <c:pt idx="448">
                  <c:v>2.2685390545839E6</c:v>
                </c:pt>
                <c:pt idx="449">
                  <c:v>2.26346792393335E6</c:v>
                </c:pt>
                <c:pt idx="450">
                  <c:v>2.25841217430421E6</c:v>
                </c:pt>
                <c:pt idx="451">
                  <c:v>2.25337174679607E6</c:v>
                </c:pt>
                <c:pt idx="452">
                  <c:v>2.24834658278095E6</c:v>
                </c:pt>
                <c:pt idx="453">
                  <c:v>2.24333662390173E6</c:v>
                </c:pt>
                <c:pt idx="454">
                  <c:v>2.2383418120708E6</c:v>
                </c:pt>
                <c:pt idx="455">
                  <c:v>2.23336208946844E6</c:v>
                </c:pt>
                <c:pt idx="456">
                  <c:v>2.22839739854156E6</c:v>
                </c:pt>
                <c:pt idx="457">
                  <c:v>2.22344768200211E6</c:v>
                </c:pt>
                <c:pt idx="458">
                  <c:v>2.21851288282574E6</c:v>
                </c:pt>
                <c:pt idx="459">
                  <c:v>2.21359294425031E6</c:v>
                </c:pt>
                <c:pt idx="460">
                  <c:v>2.20868780977456E6</c:v>
                </c:pt>
                <c:pt idx="461">
                  <c:v>2.2037974231566E6</c:v>
                </c:pt>
                <c:pt idx="462">
                  <c:v>2.19892172841263E6</c:v>
                </c:pt>
                <c:pt idx="463">
                  <c:v>2.19406066981544E6</c:v>
                </c:pt>
                <c:pt idx="464">
                  <c:v>2.18921419189311E6</c:v>
                </c:pt>
                <c:pt idx="465">
                  <c:v>2.18438223942764E6</c:v>
                </c:pt>
                <c:pt idx="466">
                  <c:v>2.17956475745354E6</c:v>
                </c:pt>
                <c:pt idx="467">
                  <c:v>2.17476169125648E6</c:v>
                </c:pt>
                <c:pt idx="468">
                  <c:v>2.16997298637201E6</c:v>
                </c:pt>
                <c:pt idx="469">
                  <c:v>2.16519858858415E6</c:v>
                </c:pt>
                <c:pt idx="470">
                  <c:v>2.1604384439241E6</c:v>
                </c:pt>
                <c:pt idx="471">
                  <c:v>2.15569249866894E6</c:v>
                </c:pt>
                <c:pt idx="472">
                  <c:v>2.15096069934022E6</c:v>
                </c:pt>
                <c:pt idx="473">
                  <c:v>2.14624299270279E6</c:v>
                </c:pt>
                <c:pt idx="474">
                  <c:v>2.14153932576342E6</c:v>
                </c:pt>
                <c:pt idx="475">
                  <c:v>2.13684964576952E6</c:v>
                </c:pt>
                <c:pt idx="476">
                  <c:v>2.13217390020786E6</c:v>
                </c:pt>
                <c:pt idx="477">
                  <c:v>2.12751203680334E6</c:v>
                </c:pt>
                <c:pt idx="478">
                  <c:v>2.12286400351766E6</c:v>
                </c:pt>
                <c:pt idx="479">
                  <c:v>2.11822974854811E6</c:v>
                </c:pt>
                <c:pt idx="480">
                  <c:v>2.11360922032633E6</c:v>
                </c:pt>
                <c:pt idx="481">
                  <c:v>2.10900236751698E6</c:v>
                </c:pt>
                <c:pt idx="482">
                  <c:v>2.10440913901664E6</c:v>
                </c:pt>
                <c:pt idx="483">
                  <c:v>2.09982948395245E6</c:v>
                </c:pt>
                <c:pt idx="484">
                  <c:v>2.095263351681E6</c:v>
                </c:pt>
                <c:pt idx="485">
                  <c:v>2.09071069178706E6</c:v>
                </c:pt>
                <c:pt idx="486">
                  <c:v>2.08617145408237E6</c:v>
                </c:pt>
                <c:pt idx="487">
                  <c:v>2.08164558860446E6</c:v>
                </c:pt>
                <c:pt idx="488">
                  <c:v>2.0771330456155E6</c:v>
                </c:pt>
                <c:pt idx="489">
                  <c:v>2.072633775601E6</c:v>
                </c:pt>
                <c:pt idx="490">
                  <c:v>2.06814772926877E6</c:v>
                </c:pt>
                <c:pt idx="491">
                  <c:v>2.0636748575477E6</c:v>
                </c:pt>
                <c:pt idx="492">
                  <c:v>2.0592151115865E6</c:v>
                </c:pt>
                <c:pt idx="493">
                  <c:v>2.05476844275276E6</c:v>
                </c:pt>
                <c:pt idx="494">
                  <c:v>2.0503348026316E6</c:v>
                </c:pt>
                <c:pt idx="495">
                  <c:v>2.04591414302458E6</c:v>
                </c:pt>
                <c:pt idx="496">
                  <c:v>2.04150641594868E6</c:v>
                </c:pt>
                <c:pt idx="497">
                  <c:v>2.03711157363501E6</c:v>
                </c:pt>
                <c:pt idx="498">
                  <c:v>2.03272956852781E6</c:v>
                </c:pt>
                <c:pt idx="499">
                  <c:v>2.02836035328324E6</c:v>
                </c:pt>
                <c:pt idx="500">
                  <c:v>2.0240038807684E6</c:v>
                </c:pt>
                <c:pt idx="501">
                  <c:v>2.01966010406006E6</c:v>
                </c:pt>
                <c:pt idx="502">
                  <c:v>2.01532897644375E6</c:v>
                </c:pt>
                <c:pt idx="503">
                  <c:v>2.01101045141251E6</c:v>
                </c:pt>
                <c:pt idx="504">
                  <c:v>2.00670448266594E6</c:v>
                </c:pt>
                <c:pt idx="505">
                  <c:v>2.00241102410901E6</c:v>
                </c:pt>
                <c:pt idx="506">
                  <c:v>1.9981300298511E6</c:v>
                </c:pt>
                <c:pt idx="507">
                  <c:v>1.99386145420485E6</c:v>
                </c:pt>
                <c:pt idx="508">
                  <c:v>1.98960525168516E6</c:v>
                </c:pt>
                <c:pt idx="509">
                  <c:v>1.98536137700812E6</c:v>
                </c:pt>
                <c:pt idx="510">
                  <c:v>1.98112978508998E6</c:v>
                </c:pt>
                <c:pt idx="511">
                  <c:v>1.97691043104608E6</c:v>
                </c:pt>
                <c:pt idx="512">
                  <c:v>1.97270327018987E6</c:v>
                </c:pt>
                <c:pt idx="513">
                  <c:v>1.96850825803184E6</c:v>
                </c:pt>
                <c:pt idx="514">
                  <c:v>1.96432535027854E6</c:v>
                </c:pt>
                <c:pt idx="515">
                  <c:v>1.96015450283152E6</c:v>
                </c:pt>
                <c:pt idx="516">
                  <c:v>1.95599567178638E6</c:v>
                </c:pt>
                <c:pt idx="517">
                  <c:v>1.95184881343175E6</c:v>
                </c:pt>
                <c:pt idx="518">
                  <c:v>1.94771388424824E6</c:v>
                </c:pt>
                <c:pt idx="519">
                  <c:v>1.94359084090756E6</c:v>
                </c:pt>
                <c:pt idx="520">
                  <c:v>1.93947964027142E6</c:v>
                </c:pt>
                <c:pt idx="521">
                  <c:v>1.93538023939066E6</c:v>
                </c:pt>
                <c:pt idx="522">
                  <c:v>1.93129259550421E6</c:v>
                </c:pt>
                <c:pt idx="523">
                  <c:v>1.92721666603812E6</c:v>
                </c:pt>
                <c:pt idx="524">
                  <c:v>1.92315240860467E6</c:v>
                </c:pt>
                <c:pt idx="525">
                  <c:v>1.91909978100133E6</c:v>
                </c:pt>
                <c:pt idx="526">
                  <c:v>1.91505874120988E6</c:v>
                </c:pt>
                <c:pt idx="527">
                  <c:v>1.91102924739541E6</c:v>
                </c:pt>
                <c:pt idx="528">
                  <c:v>1.90701125790545E6</c:v>
                </c:pt>
                <c:pt idx="529">
                  <c:v>1.90300473126896E6</c:v>
                </c:pt>
                <c:pt idx="530">
                  <c:v>1.89900962619549E6</c:v>
                </c:pt>
                <c:pt idx="531">
                  <c:v>1.89502590157415E6</c:v>
                </c:pt>
                <c:pt idx="532">
                  <c:v>1.89105351647281E6</c:v>
                </c:pt>
                <c:pt idx="533">
                  <c:v>1.88709243013711E6</c:v>
                </c:pt>
                <c:pt idx="534">
                  <c:v>1.88314260198961E6</c:v>
                </c:pt>
                <c:pt idx="535">
                  <c:v>1.87920399162882E6</c:v>
                </c:pt>
                <c:pt idx="536">
                  <c:v>1.87527655882837E6</c:v>
                </c:pt>
                <c:pt idx="537">
                  <c:v>1.87136026353611E6</c:v>
                </c:pt>
                <c:pt idx="538">
                  <c:v>1.8674550658732E6</c:v>
                </c:pt>
                <c:pt idx="539">
                  <c:v>1.86356092613324E6</c:v>
                </c:pt>
                <c:pt idx="540">
                  <c:v>1.85967780478143E6</c:v>
                </c:pt>
                <c:pt idx="541">
                  <c:v>1.85580566245363E6</c:v>
                </c:pt>
                <c:pt idx="542">
                  <c:v>1.85194445995558E6</c:v>
                </c:pt>
                <c:pt idx="543">
                  <c:v>1.84809415826197E6</c:v>
                </c:pt>
                <c:pt idx="544">
                  <c:v>1.84425471851565E6</c:v>
                </c:pt>
                <c:pt idx="545">
                  <c:v>1.84042610202672E6</c:v>
                </c:pt>
                <c:pt idx="546">
                  <c:v>1.83660827027173E6</c:v>
                </c:pt>
                <c:pt idx="547">
                  <c:v>1.83280118489283E6</c:v>
                </c:pt>
                <c:pt idx="548">
                  <c:v>1.8290048076969E6</c:v>
                </c:pt>
                <c:pt idx="549">
                  <c:v>1.82521910065479E6</c:v>
                </c:pt>
                <c:pt idx="550">
                  <c:v>1.82144402590045E6</c:v>
                </c:pt>
                <c:pt idx="551">
                  <c:v>1.81767954573011E6</c:v>
                </c:pt>
                <c:pt idx="552">
                  <c:v>1.81392562260148E6</c:v>
                </c:pt>
                <c:pt idx="553">
                  <c:v>1.81018221913292E6</c:v>
                </c:pt>
                <c:pt idx="554">
                  <c:v>1.80644929810265E6</c:v>
                </c:pt>
                <c:pt idx="555">
                  <c:v>1.80272682244798E6</c:v>
                </c:pt>
                <c:pt idx="556">
                  <c:v>1.79901475526445E6</c:v>
                </c:pt>
                <c:pt idx="557">
                  <c:v>1.79531305980505E6</c:v>
                </c:pt>
                <c:pt idx="558">
                  <c:v>1.7916216994795E6</c:v>
                </c:pt>
                <c:pt idx="559">
                  <c:v>1.78794063785338E6</c:v>
                </c:pt>
                <c:pt idx="560">
                  <c:v>1.7842698386474E6</c:v>
                </c:pt>
                <c:pt idx="561">
                  <c:v>1.78060926573662E6</c:v>
                </c:pt>
                <c:pt idx="562">
                  <c:v>1.7769588831497E6</c:v>
                </c:pt>
                <c:pt idx="563">
                  <c:v>1.77331865506802E6</c:v>
                </c:pt>
                <c:pt idx="564">
                  <c:v>1.76968854582516E6</c:v>
                </c:pt>
                <c:pt idx="565">
                  <c:v>1.76606851990586E6</c:v>
                </c:pt>
                <c:pt idx="566">
                  <c:v>1.76245854194547E6</c:v>
                </c:pt>
                <c:pt idx="567">
                  <c:v>1.75885857672914E6</c:v>
                </c:pt>
                <c:pt idx="568">
                  <c:v>1.75526858919102E6</c:v>
                </c:pt>
                <c:pt idx="569">
                  <c:v>1.75168854441362E6</c:v>
                </c:pt>
                <c:pt idx="570">
                  <c:v>1.748118407627E6</c:v>
                </c:pt>
                <c:pt idx="571">
                  <c:v>1.74455814420811E6</c:v>
                </c:pt>
                <c:pt idx="572">
                  <c:v>1.74100771967996E6</c:v>
                </c:pt>
                <c:pt idx="573">
                  <c:v>1.73746709971099E6</c:v>
                </c:pt>
                <c:pt idx="574">
                  <c:v>1.73393625011433E6</c:v>
                </c:pt>
                <c:pt idx="575">
                  <c:v>1.73041513684704E6</c:v>
                </c:pt>
                <c:pt idx="576">
                  <c:v>1.72690372600947E6</c:v>
                </c:pt>
                <c:pt idx="577">
                  <c:v>1.72340198384448E6</c:v>
                </c:pt>
                <c:pt idx="578">
                  <c:v>1.71990987673681E6</c:v>
                </c:pt>
                <c:pt idx="579">
                  <c:v>1.71642737121234E6</c:v>
                </c:pt>
                <c:pt idx="580">
                  <c:v>1.71295443393737E6</c:v>
                </c:pt>
                <c:pt idx="581">
                  <c:v>1.70949103171801E6</c:v>
                </c:pt>
                <c:pt idx="582">
                  <c:v>1.70603713149941E6</c:v>
                </c:pt>
                <c:pt idx="583">
                  <c:v>1.70259270036514E6</c:v>
                </c:pt>
                <c:pt idx="584">
                  <c:v>1.69915770553646E6</c:v>
                </c:pt>
                <c:pt idx="585">
                  <c:v>1.69573211437167E6</c:v>
                </c:pt>
                <c:pt idx="586">
                  <c:v>1.69231589436545E6</c:v>
                </c:pt>
                <c:pt idx="587">
                  <c:v>1.68890901314818E6</c:v>
                </c:pt>
                <c:pt idx="588">
                  <c:v>1.68551143848525E6</c:v>
                </c:pt>
                <c:pt idx="589">
                  <c:v>1.68212313827647E6</c:v>
                </c:pt>
                <c:pt idx="590">
                  <c:v>1.67874408055534E6</c:v>
                </c:pt>
                <c:pt idx="591">
                  <c:v>1.67537423348842E6</c:v>
                </c:pt>
                <c:pt idx="592">
                  <c:v>1.6720135653747E6</c:v>
                </c:pt>
                <c:pt idx="593">
                  <c:v>1.66866204464496E6</c:v>
                </c:pt>
                <c:pt idx="594">
                  <c:v>1.66531963986107E6</c:v>
                </c:pt>
                <c:pt idx="595">
                  <c:v>1.66198631971543E6</c:v>
                </c:pt>
                <c:pt idx="596">
                  <c:v>1.65866205303026E6</c:v>
                </c:pt>
                <c:pt idx="597">
                  <c:v>1.65534680875705E6</c:v>
                </c:pt>
                <c:pt idx="598">
                  <c:v>1.65204055597586E6</c:v>
                </c:pt>
                <c:pt idx="599">
                  <c:v>1.64874326389473E6</c:v>
                </c:pt>
                <c:pt idx="600">
                  <c:v>1.64545490184906E6</c:v>
                </c:pt>
                <c:pt idx="601">
                  <c:v>1.64217543930098E6</c:v>
                </c:pt>
                <c:pt idx="602">
                  <c:v>1.63890484583873E6</c:v>
                </c:pt>
                <c:pt idx="603">
                  <c:v>1.6356430911761E6</c:v>
                </c:pt>
                <c:pt idx="604">
                  <c:v>1.63239014515175E6</c:v>
                </c:pt>
                <c:pt idx="605">
                  <c:v>1.62914597772866E6</c:v>
                </c:pt>
                <c:pt idx="606">
                  <c:v>1.6259105589935E6</c:v>
                </c:pt>
                <c:pt idx="607">
                  <c:v>1.62268385915607E6</c:v>
                </c:pt>
                <c:pt idx="608">
                  <c:v>1.61946584854865E6</c:v>
                </c:pt>
                <c:pt idx="609">
                  <c:v>1.61625649762545E6</c:v>
                </c:pt>
                <c:pt idx="610">
                  <c:v>1.61305577696202E6</c:v>
                </c:pt>
                <c:pt idx="611">
                  <c:v>1.60986365725467E6</c:v>
                </c:pt>
                <c:pt idx="612">
                  <c:v>1.60668010931986E6</c:v>
                </c:pt>
                <c:pt idx="613">
                  <c:v>1.60350510409364E6</c:v>
                </c:pt>
                <c:pt idx="614">
                  <c:v>1.6003386126311E6</c:v>
                </c:pt>
                <c:pt idx="615">
                  <c:v>1.59718060610575E6</c:v>
                </c:pt>
                <c:pt idx="616">
                  <c:v>1.59403105580901E6</c:v>
                </c:pt>
                <c:pt idx="617">
                  <c:v>1.59088993314957E6</c:v>
                </c:pt>
                <c:pt idx="618">
                  <c:v>1.58775720965292E6</c:v>
                </c:pt>
                <c:pt idx="619">
                  <c:v>1.58463285696072E6</c:v>
                </c:pt>
                <c:pt idx="620">
                  <c:v>1.58151684683024E6</c:v>
                </c:pt>
                <c:pt idx="621">
                  <c:v>1.5784091511339E6</c:v>
                </c:pt>
                <c:pt idx="622">
                  <c:v>1.57530974185859E6</c:v>
                </c:pt>
                <c:pt idx="623">
                  <c:v>1.57221859110524E6</c:v>
                </c:pt>
                <c:pt idx="624">
                  <c:v>1.56913567108819E6</c:v>
                </c:pt>
                <c:pt idx="625">
                  <c:v>1.56606095413469E6</c:v>
                </c:pt>
                <c:pt idx="626">
                  <c:v>1.5629944126844E6</c:v>
                </c:pt>
                <c:pt idx="627">
                  <c:v>1.55993601928875E6</c:v>
                </c:pt>
                <c:pt idx="628">
                  <c:v>1.55688574661052E6</c:v>
                </c:pt>
                <c:pt idx="629">
                  <c:v>1.55384356742323E6</c:v>
                </c:pt>
                <c:pt idx="630">
                  <c:v>1.55080945461066E6</c:v>
                </c:pt>
                <c:pt idx="631">
                  <c:v>1.54778338116632E6</c:v>
                </c:pt>
                <c:pt idx="632">
                  <c:v>1.54476532019291E6</c:v>
                </c:pt>
                <c:pt idx="633">
                  <c:v>1.54175524490182E6</c:v>
                </c:pt>
                <c:pt idx="634">
                  <c:v>1.53875312861263E6</c:v>
                </c:pt>
                <c:pt idx="635">
                  <c:v>1.53575894475253E6</c:v>
                </c:pt>
                <c:pt idx="636">
                  <c:v>1.53277266685592E6</c:v>
                </c:pt>
                <c:pt idx="637">
                  <c:v>1.52979426856381E6</c:v>
                </c:pt>
                <c:pt idx="638">
                  <c:v>1.52682372362334E6</c:v>
                </c:pt>
                <c:pt idx="639">
                  <c:v>1.52386100588733E6</c:v>
                </c:pt>
                <c:pt idx="640">
                  <c:v>1.52090608931369E6</c:v>
                </c:pt>
                <c:pt idx="641">
                  <c:v>1.51795894796503E6</c:v>
                </c:pt>
                <c:pt idx="642">
                  <c:v>1.51501955600806E6</c:v>
                </c:pt>
                <c:pt idx="643">
                  <c:v>1.5120878877132E6</c:v>
                </c:pt>
                <c:pt idx="644">
                  <c:v>1.50916391745401E6</c:v>
                </c:pt>
                <c:pt idx="645">
                  <c:v>1.50624761970677E6</c:v>
                </c:pt>
                <c:pt idx="646">
                  <c:v>1.50333896904995E6</c:v>
                </c:pt>
                <c:pt idx="647">
                  <c:v>1.50043794016374E6</c:v>
                </c:pt>
                <c:pt idx="648">
                  <c:v>1.49754450782962E6</c:v>
                </c:pt>
                <c:pt idx="649">
                  <c:v>1.4946586469298E6</c:v>
                </c:pt>
                <c:pt idx="650">
                  <c:v>1.49178033244684E6</c:v>
                </c:pt>
                <c:pt idx="651">
                  <c:v>1.4889095394631E6</c:v>
                </c:pt>
                <c:pt idx="652">
                  <c:v>1.48604624316034E6</c:v>
                </c:pt>
                <c:pt idx="653">
                  <c:v>1.48319041881919E6</c:v>
                </c:pt>
                <c:pt idx="654">
                  <c:v>1.48034204181876E6</c:v>
                </c:pt>
                <c:pt idx="655">
                  <c:v>1.47750108763612E6</c:v>
                </c:pt>
                <c:pt idx="656">
                  <c:v>1.47466753184588E6</c:v>
                </c:pt>
                <c:pt idx="657">
                  <c:v>1.47184135011972E6</c:v>
                </c:pt>
                <c:pt idx="658">
                  <c:v>1.46902251822593E6</c:v>
                </c:pt>
                <c:pt idx="659">
                  <c:v>1.46621101202898E6</c:v>
                </c:pt>
                <c:pt idx="660">
                  <c:v>1.46340680748906E6</c:v>
                </c:pt>
                <c:pt idx="661">
                  <c:v>1.46060988066164E6</c:v>
                </c:pt>
                <c:pt idx="662">
                  <c:v>1.45782020769704E6</c:v>
                </c:pt>
                <c:pt idx="663">
                  <c:v>1.45503776483995E6</c:v>
                </c:pt>
                <c:pt idx="664">
                  <c:v>1.45226252842903E6</c:v>
                </c:pt>
                <c:pt idx="665">
                  <c:v>1.44949447489647E6</c:v>
                </c:pt>
                <c:pt idx="666">
                  <c:v>1.44673358076754E6</c:v>
                </c:pt>
                <c:pt idx="667">
                  <c:v>1.44397982266017E6</c:v>
                </c:pt>
                <c:pt idx="668">
                  <c:v>1.44123317728453E6</c:v>
                </c:pt>
                <c:pt idx="669">
                  <c:v>1.43849362144258E6</c:v>
                </c:pt>
                <c:pt idx="670">
                  <c:v>1.43576113202767E6</c:v>
                </c:pt>
                <c:pt idx="671">
                  <c:v>1.43303568602409E6</c:v>
                </c:pt>
                <c:pt idx="672">
                  <c:v>1.43031726050671E6</c:v>
                </c:pt>
                <c:pt idx="673">
                  <c:v>1.42760583264046E6</c:v>
                </c:pt>
                <c:pt idx="674">
                  <c:v>1.42490137968004E6</c:v>
                </c:pt>
                <c:pt idx="675">
                  <c:v>1.4222038789694E6</c:v>
                </c:pt>
                <c:pt idx="676">
                  <c:v>1.41951330794137E6</c:v>
                </c:pt>
                <c:pt idx="677">
                  <c:v>1.41682964411729E6</c:v>
                </c:pt>
                <c:pt idx="678">
                  <c:v>1.41415286510654E6</c:v>
                </c:pt>
                <c:pt idx="679">
                  <c:v>1.41148294860617E6</c:v>
                </c:pt>
                <c:pt idx="680">
                  <c:v>1.40881987240048E6</c:v>
                </c:pt>
                <c:pt idx="681">
                  <c:v>1.40616361436065E6</c:v>
                </c:pt>
                <c:pt idx="682">
                  <c:v>1.40351415244431E6</c:v>
                </c:pt>
                <c:pt idx="683">
                  <c:v>1.40087146469516E6</c:v>
                </c:pt>
                <c:pt idx="684">
                  <c:v>1.39823552924257E6</c:v>
                </c:pt>
                <c:pt idx="685">
                  <c:v>1.39560632430119E6</c:v>
                </c:pt>
                <c:pt idx="686">
                  <c:v>1.39298382817058E6</c:v>
                </c:pt>
                <c:pt idx="687">
                  <c:v>1.39036801923478E6</c:v>
                </c:pt>
                <c:pt idx="688">
                  <c:v>1.38775887596196E6</c:v>
                </c:pt>
                <c:pt idx="689">
                  <c:v>1.38515637690402E6</c:v>
                </c:pt>
                <c:pt idx="690">
                  <c:v>1.38256050069623E6</c:v>
                </c:pt>
                <c:pt idx="691">
                  <c:v>1.3799712260568E6</c:v>
                </c:pt>
                <c:pt idx="692">
                  <c:v>1.37738853178656E6</c:v>
                </c:pt>
                <c:pt idx="693">
                  <c:v>1.37481239676857E6</c:v>
                </c:pt>
                <c:pt idx="694">
                  <c:v>1.37224279996771E6</c:v>
                </c:pt>
                <c:pt idx="695">
                  <c:v>1.36967972043036E6</c:v>
                </c:pt>
                <c:pt idx="696">
                  <c:v>1.36712313728398E6</c:v>
                </c:pt>
                <c:pt idx="697">
                  <c:v>1.36457302973678E6</c:v>
                </c:pt>
                <c:pt idx="698">
                  <c:v>1.36202937707736E6</c:v>
                </c:pt>
                <c:pt idx="699">
                  <c:v>1.3594921586743E6</c:v>
                </c:pt>
                <c:pt idx="700">
                  <c:v>1.35696135397582E6</c:v>
                </c:pt>
                <c:pt idx="701">
                  <c:v>1.35443694250947E6</c:v>
                </c:pt>
                <c:pt idx="702">
                  <c:v>1.35191890388167E6</c:v>
                </c:pt>
                <c:pt idx="703">
                  <c:v>1.34940721777744E6</c:v>
                </c:pt>
                <c:pt idx="704">
                  <c:v>1.34690186396002E6</c:v>
                </c:pt>
                <c:pt idx="705">
                  <c:v>1.34440282227051E6</c:v>
                </c:pt>
                <c:pt idx="706">
                  <c:v>1.34191007262749E6</c:v>
                </c:pt>
                <c:pt idx="707">
                  <c:v>1.33942359502675E6</c:v>
                </c:pt>
                <c:pt idx="708">
                  <c:v>1.33694336954086E6</c:v>
                </c:pt>
                <c:pt idx="709">
                  <c:v>1.33446937631887E6</c:v>
                </c:pt>
                <c:pt idx="710">
                  <c:v>1.33200159558596E6</c:v>
                </c:pt>
                <c:pt idx="711">
                  <c:v>1.32954000764309E6</c:v>
                </c:pt>
                <c:pt idx="712">
                  <c:v>1.32708459286666E6</c:v>
                </c:pt>
                <c:pt idx="713">
                  <c:v>1.32463533170816E6</c:v>
                </c:pt>
                <c:pt idx="714">
                  <c:v>1.32219220469388E6</c:v>
                </c:pt>
                <c:pt idx="715">
                  <c:v>1.31975519242453E6</c:v>
                </c:pt>
                <c:pt idx="716">
                  <c:v>1.3173242755749E6</c:v>
                </c:pt>
                <c:pt idx="717">
                  <c:v>1.31489943489356E6</c:v>
                </c:pt>
                <c:pt idx="718">
                  <c:v>1.31248065120252E6</c:v>
                </c:pt>
                <c:pt idx="719">
                  <c:v>1.3100679053969E6</c:v>
                </c:pt>
                <c:pt idx="720">
                  <c:v>1.30766117844461E6</c:v>
                </c:pt>
                <c:pt idx="721">
                  <c:v>1.30526045138598E6</c:v>
                </c:pt>
                <c:pt idx="722">
                  <c:v>1.30286570533353E6</c:v>
                </c:pt>
                <c:pt idx="723">
                  <c:v>1.30047692147153E6</c:v>
                </c:pt>
                <c:pt idx="724">
                  <c:v>1.29809408105581E6</c:v>
                </c:pt>
                <c:pt idx="725">
                  <c:v>1.29571716541333E6</c:v>
                </c:pt>
                <c:pt idx="726">
                  <c:v>1.2933461559419E6</c:v>
                </c:pt>
                <c:pt idx="727">
                  <c:v>1.29098103410991E6</c:v>
                </c:pt>
                <c:pt idx="728">
                  <c:v>1.28862178145595E6</c:v>
                </c:pt>
                <c:pt idx="729">
                  <c:v>1.28626837958855E6</c:v>
                </c:pt>
                <c:pt idx="730">
                  <c:v>1.28392081018582E6</c:v>
                </c:pt>
                <c:pt idx="731">
                  <c:v>1.28157905499518E6</c:v>
                </c:pt>
                <c:pt idx="732">
                  <c:v>1.27924309583305E6</c:v>
                </c:pt>
                <c:pt idx="733">
                  <c:v>1.27691291458453E6</c:v>
                </c:pt>
                <c:pt idx="734">
                  <c:v>1.27458849320309E6</c:v>
                </c:pt>
                <c:pt idx="735">
                  <c:v>1.2722698137103E6</c:v>
                </c:pt>
                <c:pt idx="736">
                  <c:v>1.26995685819549E6</c:v>
                </c:pt>
                <c:pt idx="737">
                  <c:v>1.26764960881547E6</c:v>
                </c:pt>
                <c:pt idx="738">
                  <c:v>1.26534804779425E6</c:v>
                </c:pt>
                <c:pt idx="739">
                  <c:v>1.2630521574227E6</c:v>
                </c:pt>
                <c:pt idx="740">
                  <c:v>1.26076192005829E6</c:v>
                </c:pt>
                <c:pt idx="741">
                  <c:v>1.25847731812479E6</c:v>
                </c:pt>
                <c:pt idx="742">
                  <c:v>1.25619833411196E6</c:v>
                </c:pt>
                <c:pt idx="743">
                  <c:v>1.25392495057529E6</c:v>
                </c:pt>
                <c:pt idx="744">
                  <c:v>1.25165715013569E6</c:v>
                </c:pt>
                <c:pt idx="745">
                  <c:v>1.24939491547921E6</c:v>
                </c:pt>
                <c:pt idx="746">
                  <c:v>1.24713822935673E6</c:v>
                </c:pt>
                <c:pt idx="747">
                  <c:v>1.24488707458372E6</c:v>
                </c:pt>
                <c:pt idx="748">
                  <c:v>1.24264143403992E6</c:v>
                </c:pt>
                <c:pt idx="749">
                  <c:v>1.24040129066908E6</c:v>
                </c:pt>
                <c:pt idx="750">
                  <c:v>1.23816662747867E6</c:v>
                </c:pt>
                <c:pt idx="751">
                  <c:v>1.2359374275396E6</c:v>
                </c:pt>
                <c:pt idx="752">
                  <c:v>1.23371367398593E6</c:v>
                </c:pt>
                <c:pt idx="753">
                  <c:v>1.23149535001465E6</c:v>
                </c:pt>
                <c:pt idx="754">
                  <c:v>1.2292824388853E6</c:v>
                </c:pt>
                <c:pt idx="755">
                  <c:v>1.22707492391982E6</c:v>
                </c:pt>
                <c:pt idx="756">
                  <c:v>1.22487278850218E6</c:v>
                </c:pt>
                <c:pt idx="757">
                  <c:v>1.22267601607817E6</c:v>
                </c:pt>
                <c:pt idx="758">
                  <c:v>1.2204845901551E6</c:v>
                </c:pt>
                <c:pt idx="759">
                  <c:v>1.21829849430152E6</c:v>
                </c:pt>
                <c:pt idx="760">
                  <c:v>1.21611771214702E6</c:v>
                </c:pt>
                <c:pt idx="761">
                  <c:v>1.21394222738186E6</c:v>
                </c:pt>
                <c:pt idx="762">
                  <c:v>1.21177202375683E6</c:v>
                </c:pt>
                <c:pt idx="763">
                  <c:v>1.20960708508285E6</c:v>
                </c:pt>
                <c:pt idx="764">
                  <c:v>1.20744739523083E6</c:v>
                </c:pt>
                <c:pt idx="765">
                  <c:v>1.20529293813135E6</c:v>
                </c:pt>
                <c:pt idx="766">
                  <c:v>1.2031436977744E6</c:v>
                </c:pt>
                <c:pt idx="767">
                  <c:v>1.20099965820915E6</c:v>
                </c:pt>
                <c:pt idx="768">
                  <c:v>1.19886080354366E6</c:v>
                </c:pt>
                <c:pt idx="769">
                  <c:v>1.19672711794464E6</c:v>
                </c:pt>
                <c:pt idx="770">
                  <c:v>1.19459858563722E6</c:v>
                </c:pt>
                <c:pt idx="771">
                  <c:v>1.19247519090468E6</c:v>
                </c:pt>
                <c:pt idx="772">
                  <c:v>1.19035691808816E6</c:v>
                </c:pt>
                <c:pt idx="773">
                  <c:v>1.18824375158647E6</c:v>
                </c:pt>
                <c:pt idx="774">
                  <c:v>1.18613567585582E6</c:v>
                </c:pt>
                <c:pt idx="775">
                  <c:v>1.18403267540956E6</c:v>
                </c:pt>
                <c:pt idx="776">
                  <c:v>1.18193473481795E6</c:v>
                </c:pt>
                <c:pt idx="777">
                  <c:v>1.1798418387079E6</c:v>
                </c:pt>
                <c:pt idx="778">
                  <c:v>1.17775397176273E6</c:v>
                </c:pt>
                <c:pt idx="779">
                  <c:v>1.17567111872195E6</c:v>
                </c:pt>
                <c:pt idx="780">
                  <c:v>1.17359326438098E6</c:v>
                </c:pt>
                <c:pt idx="781">
                  <c:v>1.17152039359094E6</c:v>
                </c:pt>
                <c:pt idx="782">
                  <c:v>1.16945249125842E6</c:v>
                </c:pt>
                <c:pt idx="783">
                  <c:v>1.16738954234518E6</c:v>
                </c:pt>
                <c:pt idx="784">
                  <c:v>1.165331531868E6</c:v>
                </c:pt>
                <c:pt idx="785">
                  <c:v>1.16327844489836E6</c:v>
                </c:pt>
                <c:pt idx="786">
                  <c:v>1.16123026656229E6</c:v>
                </c:pt>
                <c:pt idx="787">
                  <c:v>1.15918698204006E6</c:v>
                </c:pt>
                <c:pt idx="788">
                  <c:v>1.157148576566E6</c:v>
                </c:pt>
                <c:pt idx="789">
                  <c:v>1.15511503542821E6</c:v>
                </c:pt>
                <c:pt idx="790">
                  <c:v>1.15308634396845E6</c:v>
                </c:pt>
                <c:pt idx="791">
                  <c:v>1.15106248758176E6</c:v>
                </c:pt>
                <c:pt idx="792">
                  <c:v>1.14904345171634E6</c:v>
                </c:pt>
                <c:pt idx="793">
                  <c:v>1.14702922187326E6</c:v>
                </c:pt>
                <c:pt idx="794">
                  <c:v>1.1450197836063E6</c:v>
                </c:pt>
                <c:pt idx="795">
                  <c:v>1.14301512252166E6</c:v>
                </c:pt>
                <c:pt idx="796">
                  <c:v>1.14101522427777E6</c:v>
                </c:pt>
                <c:pt idx="797">
                  <c:v>1.13902007458507E6</c:v>
                </c:pt>
                <c:pt idx="798">
                  <c:v>1.13702965920578E6</c:v>
                </c:pt>
                <c:pt idx="799">
                  <c:v>1.13504396395368E6</c:v>
                </c:pt>
                <c:pt idx="800">
                  <c:v>1.1330629746939E6</c:v>
                </c:pt>
                <c:pt idx="801">
                  <c:v>1.13108667734267E6</c:v>
                </c:pt>
                <c:pt idx="802">
                  <c:v>1.12911505786717E6</c:v>
                </c:pt>
                <c:pt idx="803">
                  <c:v>1.12714810228525E6</c:v>
                </c:pt>
                <c:pt idx="804">
                  <c:v>1.12518579666523E6</c:v>
                </c:pt>
                <c:pt idx="805">
                  <c:v>1.12322812712571E6</c:v>
                </c:pt>
                <c:pt idx="806">
                  <c:v>1.12127507983535E6</c:v>
                </c:pt>
                <c:pt idx="807">
                  <c:v>1.11932664101262E6</c:v>
                </c:pt>
                <c:pt idx="808">
                  <c:v>1.11738279692566E6</c:v>
                </c:pt>
                <c:pt idx="809">
                  <c:v>1.115443533892E6</c:v>
                </c:pt>
                <c:pt idx="810">
                  <c:v>1.1135088382784E6</c:v>
                </c:pt>
                <c:pt idx="811">
                  <c:v>1.11157869650061E6</c:v>
                </c:pt>
                <c:pt idx="812">
                  <c:v>1.10965309502321E6</c:v>
                </c:pt>
                <c:pt idx="813">
                  <c:v>1.10773202035932E6</c:v>
                </c:pt>
                <c:pt idx="814">
                  <c:v>1.10581545907051E6</c:v>
                </c:pt>
                <c:pt idx="815">
                  <c:v>1.1039033977665E6</c:v>
                </c:pt>
                <c:pt idx="816">
                  <c:v>1.10199582310499E6</c:v>
                </c:pt>
                <c:pt idx="817">
                  <c:v>1.10009272179148E6</c:v>
                </c:pt>
                <c:pt idx="818">
                  <c:v>1.09819408057904E6</c:v>
                </c:pt>
                <c:pt idx="819">
                  <c:v>1.09629988626812E6</c:v>
                </c:pt>
                <c:pt idx="820">
                  <c:v>1.09441012570637E6</c:v>
                </c:pt>
                <c:pt idx="821">
                  <c:v>1.0925247857884E6</c:v>
                </c:pt>
                <c:pt idx="822">
                  <c:v>1.09064385345563E6</c:v>
                </c:pt>
                <c:pt idx="823">
                  <c:v>1.08876731569606E6</c:v>
                </c:pt>
                <c:pt idx="824">
                  <c:v>1.08689515954409E6</c:v>
                </c:pt>
                <c:pt idx="825">
                  <c:v>1.08502737208032E6</c:v>
                </c:pt>
                <c:pt idx="826">
                  <c:v>1.08316394043139E6</c:v>
                </c:pt>
                <c:pt idx="827">
                  <c:v>1.08130485176971E6</c:v>
                </c:pt>
                <c:pt idx="828">
                  <c:v>1.07945009331336E6</c:v>
                </c:pt>
                <c:pt idx="829">
                  <c:v>1.07759965232584E6</c:v>
                </c:pt>
                <c:pt idx="830">
                  <c:v>1.0757535161159E6</c:v>
                </c:pt>
                <c:pt idx="831">
                  <c:v>1.07391167203736E6</c:v>
                </c:pt>
                <c:pt idx="832">
                  <c:v>1.07207410748888E6</c:v>
                </c:pt>
                <c:pt idx="833">
                  <c:v>1.07024080991385E6</c:v>
                </c:pt>
                <c:pt idx="834">
                  <c:v>1.06841176680014E6</c:v>
                </c:pt>
                <c:pt idx="835">
                  <c:v>1.06658696567993E6</c:v>
                </c:pt>
                <c:pt idx="836">
                  <c:v>1.06476639412954E6</c:v>
                </c:pt>
                <c:pt idx="837">
                  <c:v>1.06295003976923E6</c:v>
                </c:pt>
                <c:pt idx="838">
                  <c:v>1.06113789026304E6</c:v>
                </c:pt>
                <c:pt idx="839">
                  <c:v>1.0593299333186E6</c:v>
                </c:pt>
                <c:pt idx="840">
                  <c:v>1.0575261566869E6</c:v>
                </c:pt>
                <c:pt idx="841">
                  <c:v>1.05572654816222E6</c:v>
                </c:pt>
                <c:pt idx="842">
                  <c:v>1.05393109558184E6</c:v>
                </c:pt>
                <c:pt idx="843">
                  <c:v>1.05213978682591E6</c:v>
                </c:pt>
                <c:pt idx="844">
                  <c:v>1.05035260981731E6</c:v>
                </c:pt>
                <c:pt idx="845">
                  <c:v>1.04856955252139E6</c:v>
                </c:pt>
                <c:pt idx="846">
                  <c:v>1.04679060294586E6</c:v>
                </c:pt>
                <c:pt idx="847">
                  <c:v>1.04501574914061E6</c:v>
                </c:pt>
                <c:pt idx="848">
                  <c:v>1.04324497919748E6</c:v>
                </c:pt>
                <c:pt idx="849">
                  <c:v>1.04147828125017E6</c:v>
                </c:pt>
                <c:pt idx="850">
                  <c:v>1.03971564347401E6</c:v>
                </c:pt>
                <c:pt idx="851">
                  <c:v>1.0379570540858E6</c:v>
                </c:pt>
                <c:pt idx="852">
                  <c:v>1.03620250134364E6</c:v>
                </c:pt>
                <c:pt idx="853">
                  <c:v>1.0344519735468E6</c:v>
                </c:pt>
                <c:pt idx="854">
                  <c:v>1.03270545903545E6</c:v>
                </c:pt>
                <c:pt idx="855">
                  <c:v>1.03096294619064E6</c:v>
                </c:pt>
                <c:pt idx="856">
                  <c:v>1.02922442343399E6</c:v>
                </c:pt>
                <c:pt idx="857">
                  <c:v>1.02748987922761E6</c:v>
                </c:pt>
                <c:pt idx="858">
                  <c:v>1.02575930207389E6</c:v>
                </c:pt>
                <c:pt idx="859">
                  <c:v>1.02403268051539E6</c:v>
                </c:pt>
                <c:pt idx="860">
                  <c:v>1.02231000313459E6</c:v>
                </c:pt>
                <c:pt idx="861">
                  <c:v>1.0205912585538E6</c:v>
                </c:pt>
                <c:pt idx="862">
                  <c:v>1.018876435435E6</c:v>
                </c:pt>
                <c:pt idx="863">
                  <c:v>1.0171655224796E6</c:v>
                </c:pt>
                <c:pt idx="864">
                  <c:v>1.01545850842837E6</c:v>
                </c:pt>
                <c:pt idx="865">
                  <c:v>1.01375538206122E6</c:v>
                </c:pt>
                <c:pt idx="866">
                  <c:v>1.01205613219707E6</c:v>
                </c:pt>
                <c:pt idx="867">
                  <c:v>1.01036074769367E6</c:v>
                </c:pt>
                <c:pt idx="868">
                  <c:v>1.00866921744747E6</c:v>
                </c:pt>
                <c:pt idx="869">
                  <c:v>1.00698153039345E6</c:v>
                </c:pt>
                <c:pt idx="870">
                  <c:v>1.00529767550491E6</c:v>
                </c:pt>
                <c:pt idx="871">
                  <c:v>1.00361764179343E6</c:v>
                </c:pt>
                <c:pt idx="872">
                  <c:v>1.00194141830861E6</c:v>
                </c:pt>
                <c:pt idx="873">
                  <c:v>1.00026899413796E6</c:v>
                </c:pt>
                <c:pt idx="874">
                  <c:v>998600.358406747</c:v>
                </c:pt>
                <c:pt idx="875">
                  <c:v>996935.5002778255</c:v>
                </c:pt>
                <c:pt idx="876">
                  <c:v>995274.408951503</c:v>
                </c:pt>
                <c:pt idx="877">
                  <c:v>993617.073665371</c:v>
                </c:pt>
                <c:pt idx="878">
                  <c:v>991963.4836941715</c:v>
                </c:pt>
                <c:pt idx="879">
                  <c:v>990313.628349637</c:v>
                </c:pt>
                <c:pt idx="880">
                  <c:v>988667.4969803385</c:v>
                </c:pt>
                <c:pt idx="881">
                  <c:v>987025.0789715423</c:v>
                </c:pt>
                <c:pt idx="882">
                  <c:v>985386.3637450646</c:v>
                </c:pt>
                <c:pt idx="883">
                  <c:v>983751.3407591114</c:v>
                </c:pt>
                <c:pt idx="884">
                  <c:v>982119.9995081421</c:v>
                </c:pt>
                <c:pt idx="885">
                  <c:v>980492.32952273</c:v>
                </c:pt>
                <c:pt idx="886">
                  <c:v>978868.3203693958</c:v>
                </c:pt>
                <c:pt idx="887">
                  <c:v>977247.961650483</c:v>
                </c:pt>
                <c:pt idx="888">
                  <c:v>975631.2430040017</c:v>
                </c:pt>
                <c:pt idx="889">
                  <c:v>974018.1541034953</c:v>
                </c:pt>
                <c:pt idx="890">
                  <c:v>972408.6846578827</c:v>
                </c:pt>
                <c:pt idx="891">
                  <c:v>970802.824411339</c:v>
                </c:pt>
                <c:pt idx="892">
                  <c:v>969200.5631431231</c:v>
                </c:pt>
                <c:pt idx="893">
                  <c:v>967601.8906674653</c:v>
                </c:pt>
                <c:pt idx="894">
                  <c:v>966006.796833421</c:v>
                </c:pt>
                <c:pt idx="895">
                  <c:v>964415.2715247113</c:v>
                </c:pt>
                <c:pt idx="896">
                  <c:v>962827.304659611</c:v>
                </c:pt>
                <c:pt idx="897">
                  <c:v>961242.8861907961</c:v>
                </c:pt>
                <c:pt idx="898">
                  <c:v>959662.0061052084</c:v>
                </c:pt>
                <c:pt idx="899">
                  <c:v>958084.6544239122</c:v>
                </c:pt>
                <c:pt idx="900">
                  <c:v>956510.821201984</c:v>
                </c:pt>
                <c:pt idx="901">
                  <c:v>954940.4965283307</c:v>
                </c:pt>
                <c:pt idx="902">
                  <c:v>953373.6705255979</c:v>
                </c:pt>
                <c:pt idx="903">
                  <c:v>951810.3333500224</c:v>
                </c:pt>
                <c:pt idx="904">
                  <c:v>950250.4751912813</c:v>
                </c:pt>
                <c:pt idx="905">
                  <c:v>948694.086272379</c:v>
                </c:pt>
                <c:pt idx="906">
                  <c:v>947141.1568495132</c:v>
                </c:pt>
                <c:pt idx="907">
                  <c:v>945591.6772119263</c:v>
                </c:pt>
                <c:pt idx="908">
                  <c:v>944045.637681791</c:v>
                </c:pt>
                <c:pt idx="909">
                  <c:v>942503.0286140775</c:v>
                </c:pt>
                <c:pt idx="910">
                  <c:v>940963.8403964104</c:v>
                </c:pt>
                <c:pt idx="911">
                  <c:v>939428.0634489568</c:v>
                </c:pt>
                <c:pt idx="912">
                  <c:v>937895.6882242847</c:v>
                </c:pt>
                <c:pt idx="913">
                  <c:v>936366.7052072354</c:v>
                </c:pt>
                <c:pt idx="914">
                  <c:v>934841.1049147989</c:v>
                </c:pt>
                <c:pt idx="915">
                  <c:v>933318.8778960014</c:v>
                </c:pt>
                <c:pt idx="916">
                  <c:v>931800.0147317382</c:v>
                </c:pt>
                <c:pt idx="917">
                  <c:v>930284.5060346904</c:v>
                </c:pt>
                <c:pt idx="918">
                  <c:v>928772.3424491801</c:v>
                </c:pt>
                <c:pt idx="919">
                  <c:v>927263.5146510374</c:v>
                </c:pt>
                <c:pt idx="920">
                  <c:v>925758.0133474967</c:v>
                </c:pt>
                <c:pt idx="921">
                  <c:v>924255.829277059</c:v>
                </c:pt>
                <c:pt idx="922">
                  <c:v>922756.953209368</c:v>
                </c:pt>
                <c:pt idx="923">
                  <c:v>921261.375945089</c:v>
                </c:pt>
                <c:pt idx="924">
                  <c:v>919769.0883157993</c:v>
                </c:pt>
                <c:pt idx="925">
                  <c:v>918280.0811838434</c:v>
                </c:pt>
                <c:pt idx="926">
                  <c:v>916794.3454422277</c:v>
                </c:pt>
                <c:pt idx="927">
                  <c:v>915311.8720145023</c:v>
                </c:pt>
                <c:pt idx="928">
                  <c:v>913832.65185463</c:v>
                </c:pt>
                <c:pt idx="929">
                  <c:v>912356.6759468683</c:v>
                </c:pt>
                <c:pt idx="930">
                  <c:v>910883.9353056714</c:v>
                </c:pt>
                <c:pt idx="931">
                  <c:v>909414.4209755264</c:v>
                </c:pt>
                <c:pt idx="932">
                  <c:v>907948.1240308853</c:v>
                </c:pt>
                <c:pt idx="933">
                  <c:v>906485.035576022</c:v>
                </c:pt>
                <c:pt idx="934">
                  <c:v>905025.146744917</c:v>
                </c:pt>
                <c:pt idx="935">
                  <c:v>903568.448701141</c:v>
                </c:pt>
                <c:pt idx="936">
                  <c:v>902114.932637747</c:v>
                </c:pt>
                <c:pt idx="937">
                  <c:v>900664.589777147</c:v>
                </c:pt>
                <c:pt idx="938">
                  <c:v>899217.4113709966</c:v>
                </c:pt>
                <c:pt idx="939">
                  <c:v>897773.388700096</c:v>
                </c:pt>
                <c:pt idx="940">
                  <c:v>896332.5130742517</c:v>
                </c:pt>
                <c:pt idx="941">
                  <c:v>894894.775832183</c:v>
                </c:pt>
                <c:pt idx="942">
                  <c:v>893460.1683413971</c:v>
                </c:pt>
                <c:pt idx="943">
                  <c:v>892028.6819980919</c:v>
                </c:pt>
                <c:pt idx="944">
                  <c:v>890600.308227027</c:v>
                </c:pt>
                <c:pt idx="945">
                  <c:v>889175.038481422</c:v>
                </c:pt>
                <c:pt idx="946">
                  <c:v>887752.8642428454</c:v>
                </c:pt>
                <c:pt idx="947">
                  <c:v>886333.7770210989</c:v>
                </c:pt>
                <c:pt idx="948">
                  <c:v>884917.7683541184</c:v>
                </c:pt>
                <c:pt idx="949">
                  <c:v>883504.8298078554</c:v>
                </c:pt>
                <c:pt idx="950">
                  <c:v>882094.952976168</c:v>
                </c:pt>
                <c:pt idx="951">
                  <c:v>880688.1294807225</c:v>
                </c:pt>
                <c:pt idx="952">
                  <c:v>879284.3509708715</c:v>
                </c:pt>
                <c:pt idx="953">
                  <c:v>877883.609123564</c:v>
                </c:pt>
                <c:pt idx="954">
                  <c:v>876485.89564322</c:v>
                </c:pt>
                <c:pt idx="955">
                  <c:v>875091.2022616343</c:v>
                </c:pt>
                <c:pt idx="956">
                  <c:v>873699.5207378678</c:v>
                </c:pt>
                <c:pt idx="957">
                  <c:v>872310.8428581561</c:v>
                </c:pt>
                <c:pt idx="958">
                  <c:v>870925.160435774</c:v>
                </c:pt>
                <c:pt idx="959">
                  <c:v>869542.4653109603</c:v>
                </c:pt>
                <c:pt idx="960">
                  <c:v>868162.749350797</c:v>
                </c:pt>
                <c:pt idx="961">
                  <c:v>866786.0044491191</c:v>
                </c:pt>
                <c:pt idx="962">
                  <c:v>865412.2225263985</c:v>
                </c:pt>
                <c:pt idx="963">
                  <c:v>864041.3955296457</c:v>
                </c:pt>
                <c:pt idx="964">
                  <c:v>862673.5154323054</c:v>
                </c:pt>
                <c:pt idx="965">
                  <c:v>861308.5742341733</c:v>
                </c:pt>
                <c:pt idx="966">
                  <c:v>859946.5639612602</c:v>
                </c:pt>
                <c:pt idx="967">
                  <c:v>858587.476665721</c:v>
                </c:pt>
                <c:pt idx="968">
                  <c:v>857231.304425744</c:v>
                </c:pt>
                <c:pt idx="969">
                  <c:v>855878.0393454482</c:v>
                </c:pt>
                <c:pt idx="970">
                  <c:v>854527.673554787</c:v>
                </c:pt>
                <c:pt idx="971">
                  <c:v>853180.1992094489</c:v>
                </c:pt>
                <c:pt idx="972">
                  <c:v>851835.6084907567</c:v>
                </c:pt>
                <c:pt idx="973">
                  <c:v>850493.8936055778</c:v>
                </c:pt>
                <c:pt idx="974">
                  <c:v>849155.046786211</c:v>
                </c:pt>
                <c:pt idx="975">
                  <c:v>847819.060290301</c:v>
                </c:pt>
                <c:pt idx="976">
                  <c:v>846485.926400741</c:v>
                </c:pt>
                <c:pt idx="977">
                  <c:v>845155.637425574</c:v>
                </c:pt>
                <c:pt idx="978">
                  <c:v>843828.1856978893</c:v>
                </c:pt>
                <c:pt idx="979">
                  <c:v>842503.5635757442</c:v>
                </c:pt>
                <c:pt idx="980">
                  <c:v>841181.7634420495</c:v>
                </c:pt>
                <c:pt idx="981">
                  <c:v>839862.7777044933</c:v>
                </c:pt>
                <c:pt idx="982">
                  <c:v>838546.5987954271</c:v>
                </c:pt>
                <c:pt idx="983">
                  <c:v>837233.2191717883</c:v>
                </c:pt>
                <c:pt idx="984">
                  <c:v>835922.6313149963</c:v>
                </c:pt>
                <c:pt idx="985">
                  <c:v>834614.8277308707</c:v>
                </c:pt>
                <c:pt idx="986">
                  <c:v>833309.8009495215</c:v>
                </c:pt>
                <c:pt idx="987">
                  <c:v>832007.543525272</c:v>
                </c:pt>
                <c:pt idx="988">
                  <c:v>830708.0480365602</c:v>
                </c:pt>
                <c:pt idx="989">
                  <c:v>829411.307085847</c:v>
                </c:pt>
                <c:pt idx="990">
                  <c:v>828117.3132995258</c:v>
                </c:pt>
                <c:pt idx="991">
                  <c:v>826826.0593278406</c:v>
                </c:pt>
                <c:pt idx="992">
                  <c:v>825537.5378447716</c:v>
                </c:pt>
                <c:pt idx="993">
                  <c:v>824251.7415479738</c:v>
                </c:pt>
                <c:pt idx="994">
                  <c:v>822968.6631586733</c:v>
                </c:pt>
                <c:pt idx="995">
                  <c:v>821688.2954215768</c:v>
                </c:pt>
                <c:pt idx="996">
                  <c:v>820410.6311047811</c:v>
                </c:pt>
                <c:pt idx="997">
                  <c:v>819135.6629996989</c:v>
                </c:pt>
                <c:pt idx="998">
                  <c:v>817863.3839209552</c:v>
                </c:pt>
                <c:pt idx="999">
                  <c:v>816593.7867063013</c:v>
                </c:pt>
                <c:pt idx="1000">
                  <c:v>815326.864216542</c:v>
                </c:pt>
                <c:pt idx="1001">
                  <c:v>814062.6093354273</c:v>
                </c:pt>
                <c:pt idx="1002">
                  <c:v>812801.0149695863</c:v>
                </c:pt>
                <c:pt idx="1003">
                  <c:v>811542.0740484251</c:v>
                </c:pt>
                <c:pt idx="1004">
                  <c:v>810285.7795240536</c:v>
                </c:pt>
                <c:pt idx="1005">
                  <c:v>809032.1243711868</c:v>
                </c:pt>
                <c:pt idx="1006">
                  <c:v>807781.101587076</c:v>
                </c:pt>
                <c:pt idx="1007">
                  <c:v>806532.7041914037</c:v>
                </c:pt>
                <c:pt idx="1008">
                  <c:v>805286.9252262244</c:v>
                </c:pt>
                <c:pt idx="1009">
                  <c:v>804043.7577558581</c:v>
                </c:pt>
                <c:pt idx="1010">
                  <c:v>802803.1948668163</c:v>
                </c:pt>
                <c:pt idx="1011">
                  <c:v>801565.2296677192</c:v>
                </c:pt>
                <c:pt idx="1012">
                  <c:v>800329.8552892174</c:v>
                </c:pt>
                <c:pt idx="1013">
                  <c:v>799097.0648838954</c:v>
                </c:pt>
                <c:pt idx="1014">
                  <c:v>797866.851626205</c:v>
                </c:pt>
                <c:pt idx="1015">
                  <c:v>796639.2087123689</c:v>
                </c:pt>
                <c:pt idx="1016">
                  <c:v>795414.129360317</c:v>
                </c:pt>
                <c:pt idx="1017">
                  <c:v>794191.6068095855</c:v>
                </c:pt>
                <c:pt idx="1018">
                  <c:v>792971.63432125</c:v>
                </c:pt>
                <c:pt idx="1019">
                  <c:v>791754.2051778453</c:v>
                </c:pt>
                <c:pt idx="1020">
                  <c:v>790539.3126832695</c:v>
                </c:pt>
                <c:pt idx="1021">
                  <c:v>789326.9501627266</c:v>
                </c:pt>
                <c:pt idx="1022">
                  <c:v>788117.1109626364</c:v>
                </c:pt>
                <c:pt idx="1023">
                  <c:v>786909.7884505453</c:v>
                </c:pt>
                <c:pt idx="1024">
                  <c:v>785704.9760150671</c:v>
                </c:pt>
                <c:pt idx="1025">
                  <c:v>784502.6670657896</c:v>
                </c:pt>
                <c:pt idx="1026">
                  <c:v>783302.855033208</c:v>
                </c:pt>
                <c:pt idx="1027">
                  <c:v>782105.5333686343</c:v>
                </c:pt>
                <c:pt idx="1028">
                  <c:v>780910.6955441312</c:v>
                </c:pt>
                <c:pt idx="1029">
                  <c:v>779718.335052434</c:v>
                </c:pt>
                <c:pt idx="1030">
                  <c:v>778528.4454068654</c:v>
                </c:pt>
                <c:pt idx="1031">
                  <c:v>777341.0201412672</c:v>
                </c:pt>
                <c:pt idx="1032">
                  <c:v>776156.05280992</c:v>
                </c:pt>
                <c:pt idx="1033">
                  <c:v>774973.5369874706</c:v>
                </c:pt>
                <c:pt idx="1034">
                  <c:v>773793.4662688541</c:v>
                </c:pt>
                <c:pt idx="1035">
                  <c:v>772615.8342692223</c:v>
                </c:pt>
                <c:pt idx="1036">
                  <c:v>771440.6346238607</c:v>
                </c:pt>
                <c:pt idx="1037">
                  <c:v>770267.8609881271</c:v>
                </c:pt>
                <c:pt idx="1038">
                  <c:v>769097.5070373651</c:v>
                </c:pt>
                <c:pt idx="1039">
                  <c:v>767929.566466839</c:v>
                </c:pt>
                <c:pt idx="1040">
                  <c:v>766764.03299165</c:v>
                </c:pt>
                <c:pt idx="1041">
                  <c:v>765600.9003466768</c:v>
                </c:pt>
                <c:pt idx="1042">
                  <c:v>764440.1622864936</c:v>
                </c:pt>
                <c:pt idx="1043">
                  <c:v>763281.8125852964</c:v>
                </c:pt>
                <c:pt idx="1044">
                  <c:v>762125.845036838</c:v>
                </c:pt>
                <c:pt idx="1045">
                  <c:v>760972.253454351</c:v>
                </c:pt>
                <c:pt idx="1046">
                  <c:v>759821.0316704764</c:v>
                </c:pt>
                <c:pt idx="1047">
                  <c:v>758672.1735371873</c:v>
                </c:pt>
                <c:pt idx="1048">
                  <c:v>757525.6729257323</c:v>
                </c:pt>
                <c:pt idx="1049">
                  <c:v>756381.5237265514</c:v>
                </c:pt>
                <c:pt idx="1050">
                  <c:v>755239.7198492101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076C-44B2-BCA4-528EF36D9774}"/>
            </c:ext>
          </c:extLst>
        </c:ser>
        <c:ser>
          <c:idx val="3"/>
          <c:order val="1"/>
          <c:tx>
            <c:strRef>
              <c:f>Roze!$J$1</c:f>
              <c:strCache>
                <c:ptCount val="1"/>
                <c:pt idx="0">
                  <c:v>margin_modellezett</c:v>
                </c:pt>
              </c:strCache>
            </c:strRef>
          </c:tx>
          <c:spPr>
            <a:ln w="19050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Roze!$H$2:$H$1052</c:f>
              <c:numCache>
                <c:formatCode>_-* #,##0.0\ _F_t_-;\-* #,##0.0\ _F_t_-;_-* "-"??\ _F_t_-;_-@_-</c:formatCode>
                <c:ptCount val="1051"/>
                <c:pt idx="0">
                  <c:v>9823.23451752266</c:v>
                </c:pt>
                <c:pt idx="1">
                  <c:v>9776.786563963209</c:v>
                </c:pt>
                <c:pt idx="2">
                  <c:v>9730.615774704365</c:v>
                </c:pt>
                <c:pt idx="3">
                  <c:v>9684.720153346714</c:v>
                </c:pt>
                <c:pt idx="4">
                  <c:v>9639.09772033184</c:v>
                </c:pt>
                <c:pt idx="5">
                  <c:v>9593.746512779374</c:v>
                </c:pt>
                <c:pt idx="6">
                  <c:v>9548.664584326075</c:v>
                </c:pt>
                <c:pt idx="7">
                  <c:v>9503.850004966505</c:v>
                </c:pt>
                <c:pt idx="8">
                  <c:v>9459.30086089569</c:v>
                </c:pt>
                <c:pt idx="9">
                  <c:v>9415.015254352978</c:v>
                </c:pt>
                <c:pt idx="10">
                  <c:v>9370.991303468241</c:v>
                </c:pt>
                <c:pt idx="11">
                  <c:v>9327.22714210938</c:v>
                </c:pt>
                <c:pt idx="12">
                  <c:v>9283.720919731295</c:v>
                </c:pt>
                <c:pt idx="13">
                  <c:v>9240.470801226953</c:v>
                </c:pt>
                <c:pt idx="14">
                  <c:v>9197.47496677973</c:v>
                </c:pt>
                <c:pt idx="15">
                  <c:v>9154.731611717414</c:v>
                </c:pt>
                <c:pt idx="16">
                  <c:v>9112.238946367942</c:v>
                </c:pt>
                <c:pt idx="17">
                  <c:v>9069.995195916223</c:v>
                </c:pt>
                <c:pt idx="18">
                  <c:v>9027.998600263258</c:v>
                </c:pt>
                <c:pt idx="19">
                  <c:v>8986.247413885928</c:v>
                </c:pt>
                <c:pt idx="20">
                  <c:v>8944.739905699003</c:v>
                </c:pt>
                <c:pt idx="21">
                  <c:v>8903.474358918068</c:v>
                </c:pt>
                <c:pt idx="22">
                  <c:v>8862.449070924267</c:v>
                </c:pt>
                <c:pt idx="23">
                  <c:v>8821.662353130466</c:v>
                </c:pt>
                <c:pt idx="24">
                  <c:v>8781.112530848573</c:v>
                </c:pt>
                <c:pt idx="25">
                  <c:v>8740.797943158637</c:v>
                </c:pt>
                <c:pt idx="26">
                  <c:v>8700.71694277887</c:v>
                </c:pt>
                <c:pt idx="27">
                  <c:v>8660.867895937688</c:v>
                </c:pt>
                <c:pt idx="28">
                  <c:v>8621.24918224661</c:v>
                </c:pt>
                <c:pt idx="29">
                  <c:v>8581.859194574412</c:v>
                </c:pt>
                <c:pt idx="30">
                  <c:v>8542.696338923301</c:v>
                </c:pt>
                <c:pt idx="31">
                  <c:v>8503.759034305473</c:v>
                </c:pt>
                <c:pt idx="32">
                  <c:v>8465.045712621846</c:v>
                </c:pt>
                <c:pt idx="33">
                  <c:v>8426.554818541326</c:v>
                </c:pt>
                <c:pt idx="34">
                  <c:v>8388.284809381957</c:v>
                </c:pt>
                <c:pt idx="35">
                  <c:v>8350.234154992936</c:v>
                </c:pt>
                <c:pt idx="36">
                  <c:v>8312.401337637823</c:v>
                </c:pt>
                <c:pt idx="37">
                  <c:v>8274.78485187954</c:v>
                </c:pt>
                <c:pt idx="38">
                  <c:v>8237.383204465707</c:v>
                </c:pt>
                <c:pt idx="39">
                  <c:v>8200.194914215942</c:v>
                </c:pt>
                <c:pt idx="40">
                  <c:v>8163.218511909937</c:v>
                </c:pt>
                <c:pt idx="41">
                  <c:v>8126.45254017677</c:v>
                </c:pt>
                <c:pt idx="42">
                  <c:v>8089.895553385533</c:v>
                </c:pt>
                <c:pt idx="43">
                  <c:v>8053.546117536747</c:v>
                </c:pt>
                <c:pt idx="44">
                  <c:v>8017.402810155327</c:v>
                </c:pt>
                <c:pt idx="45">
                  <c:v>7981.4642201844</c:v>
                </c:pt>
                <c:pt idx="46">
                  <c:v>7945.728947880279</c:v>
                </c:pt>
                <c:pt idx="47">
                  <c:v>7910.195604708414</c:v>
                </c:pt>
                <c:pt idx="48">
                  <c:v>7874.862813240791</c:v>
                </c:pt>
                <c:pt idx="49">
                  <c:v>7839.72920705396</c:v>
                </c:pt>
                <c:pt idx="50">
                  <c:v>7804.793430628277</c:v>
                </c:pt>
                <c:pt idx="51">
                  <c:v>7770.054139248317</c:v>
                </c:pt>
                <c:pt idx="52">
                  <c:v>7735.50999890412</c:v>
                </c:pt>
                <c:pt idx="53">
                  <c:v>7701.159686193524</c:v>
                </c:pt>
                <c:pt idx="54">
                  <c:v>7667.001888225597</c:v>
                </c:pt>
                <c:pt idx="55">
                  <c:v>7633.035302524928</c:v>
                </c:pt>
                <c:pt idx="56">
                  <c:v>7599.258636936828</c:v>
                </c:pt>
                <c:pt idx="57">
                  <c:v>7565.67060953386</c:v>
                </c:pt>
                <c:pt idx="58">
                  <c:v>7532.269948522884</c:v>
                </c:pt>
                <c:pt idx="59">
                  <c:v>7499.0553921534</c:v>
                </c:pt>
                <c:pt idx="60">
                  <c:v>7466.025688626452</c:v>
                </c:pt>
                <c:pt idx="61">
                  <c:v>7433.17959600502</c:v>
                </c:pt>
                <c:pt idx="62">
                  <c:v>7400.515882124741</c:v>
                </c:pt>
                <c:pt idx="63">
                  <c:v>7368.033324505895</c:v>
                </c:pt>
                <c:pt idx="64">
                  <c:v>7335.730710266089</c:v>
                </c:pt>
                <c:pt idx="65">
                  <c:v>7303.606836034096</c:v>
                </c:pt>
                <c:pt idx="66">
                  <c:v>7271.660507864215</c:v>
                </c:pt>
                <c:pt idx="67">
                  <c:v>7239.89054115178</c:v>
                </c:pt>
                <c:pt idx="68">
                  <c:v>7208.295760549308</c:v>
                </c:pt>
                <c:pt idx="69">
                  <c:v>7176.874999883843</c:v>
                </c:pt>
                <c:pt idx="70">
                  <c:v>7145.627102074563</c:v>
                </c:pt>
                <c:pt idx="71">
                  <c:v>7114.55091905185</c:v>
                </c:pt>
                <c:pt idx="72">
                  <c:v>7083.645311676653</c:v>
                </c:pt>
                <c:pt idx="73">
                  <c:v>7052.90914966107</c:v>
                </c:pt>
                <c:pt idx="74">
                  <c:v>7022.341311489341</c:v>
                </c:pt>
                <c:pt idx="75">
                  <c:v>6991.940684340057</c:v>
                </c:pt>
                <c:pt idx="76">
                  <c:v>6961.70616400877</c:v>
                </c:pt>
                <c:pt idx="77">
                  <c:v>6931.636654831611</c:v>
                </c:pt>
                <c:pt idx="78">
                  <c:v>6901.731069609485</c:v>
                </c:pt>
                <c:pt idx="79">
                  <c:v>6871.988329533318</c:v>
                </c:pt>
                <c:pt idx="80">
                  <c:v>6842.407364109716</c:v>
                </c:pt>
                <c:pt idx="81">
                  <c:v>6812.987111087517</c:v>
                </c:pt>
                <c:pt idx="82">
                  <c:v>6783.726516385224</c:v>
                </c:pt>
                <c:pt idx="83">
                  <c:v>6754.62453401882</c:v>
                </c:pt>
                <c:pt idx="84">
                  <c:v>6725.680126030534</c:v>
                </c:pt>
                <c:pt idx="85">
                  <c:v>6696.8922624184</c:v>
                </c:pt>
                <c:pt idx="86">
                  <c:v>6668.25992106618</c:v>
                </c:pt>
                <c:pt idx="87">
                  <c:v>6639.782087674397</c:v>
                </c:pt>
                <c:pt idx="88">
                  <c:v>6611.457755691586</c:v>
                </c:pt>
                <c:pt idx="89">
                  <c:v>6583.285926246725</c:v>
                </c:pt>
                <c:pt idx="90">
                  <c:v>6555.26560808187</c:v>
                </c:pt>
                <c:pt idx="91">
                  <c:v>6527.395817485803</c:v>
                </c:pt>
                <c:pt idx="92">
                  <c:v>6499.675578228117</c:v>
                </c:pt>
                <c:pt idx="93">
                  <c:v>6472.10392149412</c:v>
                </c:pt>
                <c:pt idx="94">
                  <c:v>6444.679885820132</c:v>
                </c:pt>
                <c:pt idx="95">
                  <c:v>6417.402517029706</c:v>
                </c:pt>
                <c:pt idx="96">
                  <c:v>6390.270868170272</c:v>
                </c:pt>
                <c:pt idx="97">
                  <c:v>6363.283999450521</c:v>
                </c:pt>
                <c:pt idx="98">
                  <c:v>6336.440978178241</c:v>
                </c:pt>
                <c:pt idx="99">
                  <c:v>6309.740878699015</c:v>
                </c:pt>
                <c:pt idx="100">
                  <c:v>6283.18278233516</c:v>
                </c:pt>
                <c:pt idx="101">
                  <c:v>6256.765777325778</c:v>
                </c:pt>
                <c:pt idx="102">
                  <c:v>6230.488958766698</c:v>
                </c:pt>
                <c:pt idx="103">
                  <c:v>6204.35142855176</c:v>
                </c:pt>
                <c:pt idx="104">
                  <c:v>6178.352295314006</c:v>
                </c:pt>
                <c:pt idx="105">
                  <c:v>6152.49067436788</c:v>
                </c:pt>
                <c:pt idx="106">
                  <c:v>6126.76568765181</c:v>
                </c:pt>
                <c:pt idx="107">
                  <c:v>6101.17646367141</c:v>
                </c:pt>
                <c:pt idx="108">
                  <c:v>6075.72213744302</c:v>
                </c:pt>
                <c:pt idx="109">
                  <c:v>6050.401850438268</c:v>
                </c:pt>
                <c:pt idx="110">
                  <c:v>6025.214750528588</c:v>
                </c:pt>
                <c:pt idx="111">
                  <c:v>6000.1599919307</c:v>
                </c:pt>
                <c:pt idx="112">
                  <c:v>5975.236735152417</c:v>
                </c:pt>
                <c:pt idx="113">
                  <c:v>5950.444146939009</c:v>
                </c:pt>
                <c:pt idx="114">
                  <c:v>5925.781400220189</c:v>
                </c:pt>
                <c:pt idx="115">
                  <c:v>5901.24767405737</c:v>
                </c:pt>
                <c:pt idx="116">
                  <c:v>5876.84215359168</c:v>
                </c:pt>
                <c:pt idx="117">
                  <c:v>5852.564029992298</c:v>
                </c:pt>
                <c:pt idx="118">
                  <c:v>5828.41250040541</c:v>
                </c:pt>
                <c:pt idx="119">
                  <c:v>5804.386767903615</c:v>
                </c:pt>
                <c:pt idx="120">
                  <c:v>5780.486041435631</c:v>
                </c:pt>
                <c:pt idx="121">
                  <c:v>5756.70953577687</c:v>
                </c:pt>
                <c:pt idx="122">
                  <c:v>5733.056471480105</c:v>
                </c:pt>
                <c:pt idx="123">
                  <c:v>5709.52607482679</c:v>
                </c:pt>
                <c:pt idx="124">
                  <c:v>5686.117577778827</c:v>
                </c:pt>
                <c:pt idx="125">
                  <c:v>5662.830217930788</c:v>
                </c:pt>
                <c:pt idx="126">
                  <c:v>5639.66323846257</c:v>
                </c:pt>
                <c:pt idx="127">
                  <c:v>5616.615888092424</c:v>
                </c:pt>
                <c:pt idx="128">
                  <c:v>5593.68742103066</c:v>
                </c:pt>
                <c:pt idx="129">
                  <c:v>5570.877096933526</c:v>
                </c:pt>
                <c:pt idx="130">
                  <c:v>5548.18418085768</c:v>
                </c:pt>
                <c:pt idx="131">
                  <c:v>5525.607943214995</c:v>
                </c:pt>
                <c:pt idx="132">
                  <c:v>5503.147659727952</c:v>
                </c:pt>
                <c:pt idx="133">
                  <c:v>5480.802611385224</c:v>
                </c:pt>
                <c:pt idx="134">
                  <c:v>5458.572084397864</c:v>
                </c:pt>
                <c:pt idx="135">
                  <c:v>5436.455370155818</c:v>
                </c:pt>
                <c:pt idx="136">
                  <c:v>5414.451765184906</c:v>
                </c:pt>
                <c:pt idx="137">
                  <c:v>5392.560571104031</c:v>
                </c:pt>
                <c:pt idx="138">
                  <c:v>5370.781094583112</c:v>
                </c:pt>
                <c:pt idx="139">
                  <c:v>5349.112647301075</c:v>
                </c:pt>
                <c:pt idx="140">
                  <c:v>5327.554545904432</c:v>
                </c:pt>
                <c:pt idx="141">
                  <c:v>5306.106111966281</c:v>
                </c:pt>
                <c:pt idx="142">
                  <c:v>5284.766671945395</c:v>
                </c:pt>
                <c:pt idx="143">
                  <c:v>5263.535557146081</c:v>
                </c:pt>
                <c:pt idx="144">
                  <c:v>5242.412103678288</c:v>
                </c:pt>
                <c:pt idx="145">
                  <c:v>5221.39565241771</c:v>
                </c:pt>
                <c:pt idx="146">
                  <c:v>5200.485548966972</c:v>
                </c:pt>
                <c:pt idx="147">
                  <c:v>5179.681143616491</c:v>
                </c:pt>
                <c:pt idx="148">
                  <c:v>5158.981791306196</c:v>
                </c:pt>
                <c:pt idx="149">
                  <c:v>5138.38685158722</c:v>
                </c:pt>
                <c:pt idx="150">
                  <c:v>5117.89568858429</c:v>
                </c:pt>
                <c:pt idx="151">
                  <c:v>5097.507670958144</c:v>
                </c:pt>
                <c:pt idx="152">
                  <c:v>5077.2221718686</c:v>
                </c:pt>
                <c:pt idx="153">
                  <c:v>5057.038568937633</c:v>
                </c:pt>
                <c:pt idx="154">
                  <c:v>5036.956244213175</c:v>
                </c:pt>
                <c:pt idx="155">
                  <c:v>5016.97458413294</c:v>
                </c:pt>
                <c:pt idx="156">
                  <c:v>4997.09297948866</c:v>
                </c:pt>
                <c:pt idx="157">
                  <c:v>4977.3108253907</c:v>
                </c:pt>
                <c:pt idx="158">
                  <c:v>4957.62752123305</c:v>
                </c:pt>
                <c:pt idx="159">
                  <c:v>4938.042470658455</c:v>
                </c:pt>
                <c:pt idx="160">
                  <c:v>4918.555081524021</c:v>
                </c:pt>
                <c:pt idx="161">
                  <c:v>4899.16476586709</c:v>
                </c:pt>
                <c:pt idx="162">
                  <c:v>4879.870939871405</c:v>
                </c:pt>
                <c:pt idx="163">
                  <c:v>4860.673023833596</c:v>
                </c:pt>
                <c:pt idx="164">
                  <c:v>4841.570442129999</c:v>
                </c:pt>
                <c:pt idx="165">
                  <c:v>4822.56262318373</c:v>
                </c:pt>
                <c:pt idx="166">
                  <c:v>4803.648999432091</c:v>
                </c:pt>
                <c:pt idx="167">
                  <c:v>4784.829007294245</c:v>
                </c:pt>
                <c:pt idx="168">
                  <c:v>4766.102087139247</c:v>
                </c:pt>
                <c:pt idx="169">
                  <c:v>4747.467683254236</c:v>
                </c:pt>
                <c:pt idx="170">
                  <c:v>4728.925243813131</c:v>
                </c:pt>
                <c:pt idx="171">
                  <c:v>4710.474220845344</c:v>
                </c:pt>
                <c:pt idx="172">
                  <c:v>4692.114070204991</c:v>
                </c:pt>
                <c:pt idx="173">
                  <c:v>4673.84425154021</c:v>
                </c:pt>
                <c:pt idx="174">
                  <c:v>4655.66422826299</c:v>
                </c:pt>
                <c:pt idx="175">
                  <c:v>4637.573467518969</c:v>
                </c:pt>
                <c:pt idx="176">
                  <c:v>4619.571440157793</c:v>
                </c:pt>
                <c:pt idx="177">
                  <c:v>4601.657620703495</c:v>
                </c:pt>
                <c:pt idx="178">
                  <c:v>4583.831487325328</c:v>
                </c:pt>
                <c:pt idx="179">
                  <c:v>4566.09252180882</c:v>
                </c:pt>
                <c:pt idx="180">
                  <c:v>4548.440209526936</c:v>
                </c:pt>
                <c:pt idx="181">
                  <c:v>4530.87403941168</c:v>
                </c:pt>
                <c:pt idx="182">
                  <c:v>4513.39350392593</c:v>
                </c:pt>
                <c:pt idx="183">
                  <c:v>4495.998099035419</c:v>
                </c:pt>
                <c:pt idx="184">
                  <c:v>4478.687324181071</c:v>
                </c:pt>
                <c:pt idx="185">
                  <c:v>4461.460682251461</c:v>
                </c:pt>
                <c:pt idx="186">
                  <c:v>4444.31767955576</c:v>
                </c:pt>
                <c:pt idx="187">
                  <c:v>4427.257825796569</c:v>
                </c:pt>
                <c:pt idx="188">
                  <c:v>4410.280634043342</c:v>
                </c:pt>
                <c:pt idx="189">
                  <c:v>4393.38562070582</c:v>
                </c:pt>
                <c:pt idx="190">
                  <c:v>4376.572305507768</c:v>
                </c:pt>
                <c:pt idx="191">
                  <c:v>4359.84021146096</c:v>
                </c:pt>
                <c:pt idx="192">
                  <c:v>4343.188864839386</c:v>
                </c:pt>
                <c:pt idx="193">
                  <c:v>4326.617795153688</c:v>
                </c:pt>
                <c:pt idx="194">
                  <c:v>4310.12653512579</c:v>
                </c:pt>
                <c:pt idx="195">
                  <c:v>4293.71462066384</c:v>
                </c:pt>
                <c:pt idx="196">
                  <c:v>4277.381590837196</c:v>
                </c:pt>
                <c:pt idx="197">
                  <c:v>4261.1269878519</c:v>
                </c:pt>
                <c:pt idx="198">
                  <c:v>4244.950357026039</c:v>
                </c:pt>
                <c:pt idx="199">
                  <c:v>4228.85124676573</c:v>
                </c:pt>
                <c:pt idx="200">
                  <c:v>4212.82920854083</c:v>
                </c:pt>
                <c:pt idx="201">
                  <c:v>4196.883796861296</c:v>
                </c:pt>
                <c:pt idx="202">
                  <c:v>4181.01456925349</c:v>
                </c:pt>
                <c:pt idx="203">
                  <c:v>4165.221086236791</c:v>
                </c:pt>
                <c:pt idx="204">
                  <c:v>4149.50291130044</c:v>
                </c:pt>
                <c:pt idx="205">
                  <c:v>4133.859610880413</c:v>
                </c:pt>
                <c:pt idx="206">
                  <c:v>4118.290754336777</c:v>
                </c:pt>
                <c:pt idx="207">
                  <c:v>4102.795913931001</c:v>
                </c:pt>
                <c:pt idx="208">
                  <c:v>4087.374664803524</c:v>
                </c:pt>
                <c:pt idx="209">
                  <c:v>4072.02658495164</c:v>
                </c:pt>
                <c:pt idx="210">
                  <c:v>4056.75125520742</c:v>
                </c:pt>
                <c:pt idx="211">
                  <c:v>4041.548259215861</c:v>
                </c:pt>
                <c:pt idx="212">
                  <c:v>4026.41718341337</c:v>
                </c:pt>
                <c:pt idx="213">
                  <c:v>4011.357617006202</c:v>
                </c:pt>
                <c:pt idx="214">
                  <c:v>3996.369151949215</c:v>
                </c:pt>
                <c:pt idx="215">
                  <c:v>3981.451382924828</c:v>
                </c:pt>
                <c:pt idx="216">
                  <c:v>3966.603907322143</c:v>
                </c:pt>
                <c:pt idx="217">
                  <c:v>3951.826325216152</c:v>
                </c:pt>
                <c:pt idx="218">
                  <c:v>3937.118239347272</c:v>
                </c:pt>
                <c:pt idx="219">
                  <c:v>3922.479255100968</c:v>
                </c:pt>
                <c:pt idx="220">
                  <c:v>3907.908980487556</c:v>
                </c:pt>
                <c:pt idx="221">
                  <c:v>3893.407026122207</c:v>
                </c:pt>
                <c:pt idx="222">
                  <c:v>3878.973005205076</c:v>
                </c:pt>
                <c:pt idx="223">
                  <c:v>3864.606533501712</c:v>
                </c:pt>
                <c:pt idx="224">
                  <c:v>3850.307229323461</c:v>
                </c:pt>
                <c:pt idx="225">
                  <c:v>3836.074713508188</c:v>
                </c:pt>
                <c:pt idx="226">
                  <c:v>3821.908609401145</c:v>
                </c:pt>
                <c:pt idx="227">
                  <c:v>3807.808542835867</c:v>
                </c:pt>
                <c:pt idx="228">
                  <c:v>3793.774142115431</c:v>
                </c:pt>
                <c:pt idx="229">
                  <c:v>3779.805037993704</c:v>
                </c:pt>
                <c:pt idx="230">
                  <c:v>3765.9008636569</c:v>
                </c:pt>
                <c:pt idx="231">
                  <c:v>3752.061254705145</c:v>
                </c:pt>
                <c:pt idx="232">
                  <c:v>3738.285849134294</c:v>
                </c:pt>
                <c:pt idx="233">
                  <c:v>3724.574287317904</c:v>
                </c:pt>
                <c:pt idx="234">
                  <c:v>3710.926211989293</c:v>
                </c:pt>
                <c:pt idx="235">
                  <c:v>3697.341268223832</c:v>
                </c:pt>
                <c:pt idx="236">
                  <c:v>3683.819103421314</c:v>
                </c:pt>
                <c:pt idx="237">
                  <c:v>3670.359367288555</c:v>
                </c:pt>
                <c:pt idx="238">
                  <c:v>3656.96171182206</c:v>
                </c:pt>
                <c:pt idx="239">
                  <c:v>3643.625791290843</c:v>
                </c:pt>
                <c:pt idx="240">
                  <c:v>3630.351262219506</c:v>
                </c:pt>
                <c:pt idx="241">
                  <c:v>3617.13778337128</c:v>
                </c:pt>
                <c:pt idx="242">
                  <c:v>3603.985015731363</c:v>
                </c:pt>
                <c:pt idx="243">
                  <c:v>3590.892622490306</c:v>
                </c:pt>
                <c:pt idx="244">
                  <c:v>3577.860269027599</c:v>
                </c:pt>
                <c:pt idx="245">
                  <c:v>3564.887622895322</c:v>
                </c:pt>
                <c:pt idx="246">
                  <c:v>3551.974353802026</c:v>
                </c:pt>
                <c:pt idx="247">
                  <c:v>3539.120133596707</c:v>
                </c:pt>
                <c:pt idx="248">
                  <c:v>3526.324636252848</c:v>
                </c:pt>
                <c:pt idx="249">
                  <c:v>3513.587537852687</c:v>
                </c:pt>
                <c:pt idx="250">
                  <c:v>3500.908516571617</c:v>
                </c:pt>
                <c:pt idx="251">
                  <c:v>3488.287252662645</c:v>
                </c:pt>
                <c:pt idx="252">
                  <c:v>3475.723428441015</c:v>
                </c:pt>
                <c:pt idx="253">
                  <c:v>3463.216728269021</c:v>
                </c:pt>
                <c:pt idx="254">
                  <c:v>3450.766838540791</c:v>
                </c:pt>
                <c:pt idx="255">
                  <c:v>3438.373447667386</c:v>
                </c:pt>
                <c:pt idx="256">
                  <c:v>3426.036246061922</c:v>
                </c:pt>
                <c:pt idx="257">
                  <c:v>3413.754926124765</c:v>
                </c:pt>
                <c:pt idx="258">
                  <c:v>3401.529182228975</c:v>
                </c:pt>
                <c:pt idx="259">
                  <c:v>3389.35871070578</c:v>
                </c:pt>
                <c:pt idx="260">
                  <c:v>3377.243209830186</c:v>
                </c:pt>
                <c:pt idx="261">
                  <c:v>3365.182379806755</c:v>
                </c:pt>
                <c:pt idx="262">
                  <c:v>3353.175922755414</c:v>
                </c:pt>
                <c:pt idx="263">
                  <c:v>3341.223542697482</c:v>
                </c:pt>
                <c:pt idx="264">
                  <c:v>3329.324945541707</c:v>
                </c:pt>
                <c:pt idx="265">
                  <c:v>3317.47983907052</c:v>
                </c:pt>
                <c:pt idx="266">
                  <c:v>3305.687932926292</c:v>
                </c:pt>
                <c:pt idx="267">
                  <c:v>3293.948938597838</c:v>
                </c:pt>
                <c:pt idx="268">
                  <c:v>3282.262569406914</c:v>
                </c:pt>
                <c:pt idx="269">
                  <c:v>3270.628540494918</c:v>
                </c:pt>
                <c:pt idx="270">
                  <c:v>3259.046568809547</c:v>
                </c:pt>
                <c:pt idx="271">
                  <c:v>3247.516373091774</c:v>
                </c:pt>
                <c:pt idx="272">
                  <c:v>3236.037673862816</c:v>
                </c:pt>
                <c:pt idx="273">
                  <c:v>3224.61019341116</c:v>
                </c:pt>
                <c:pt idx="274">
                  <c:v>3213.233655779785</c:v>
                </c:pt>
                <c:pt idx="275">
                  <c:v>3201.90778675352</c:v>
                </c:pt>
                <c:pt idx="276">
                  <c:v>3190.632313846301</c:v>
                </c:pt>
                <c:pt idx="277">
                  <c:v>3179.406966288838</c:v>
                </c:pt>
                <c:pt idx="278">
                  <c:v>3168.231475016096</c:v>
                </c:pt>
                <c:pt idx="279">
                  <c:v>3157.105572655048</c:v>
                </c:pt>
                <c:pt idx="280">
                  <c:v>3146.02899351249</c:v>
                </c:pt>
                <c:pt idx="281">
                  <c:v>3135.001473562927</c:v>
                </c:pt>
                <c:pt idx="282">
                  <c:v>3124.022750436564</c:v>
                </c:pt>
                <c:pt idx="283">
                  <c:v>3113.092563407436</c:v>
                </c:pt>
                <c:pt idx="284">
                  <c:v>3102.210653381591</c:v>
                </c:pt>
                <c:pt idx="285">
                  <c:v>3091.376762885391</c:v>
                </c:pt>
                <c:pt idx="286">
                  <c:v>3080.590636053862</c:v>
                </c:pt>
                <c:pt idx="287">
                  <c:v>3069.852018619192</c:v>
                </c:pt>
                <c:pt idx="288">
                  <c:v>3059.16065789937</c:v>
                </c:pt>
                <c:pt idx="289">
                  <c:v>3048.516302786712</c:v>
                </c:pt>
                <c:pt idx="290">
                  <c:v>3037.918703736776</c:v>
                </c:pt>
                <c:pt idx="291">
                  <c:v>3027.367612757068</c:v>
                </c:pt>
                <c:pt idx="292">
                  <c:v>3016.862783396082</c:v>
                </c:pt>
                <c:pt idx="293">
                  <c:v>3006.40397073228</c:v>
                </c:pt>
                <c:pt idx="294">
                  <c:v>2995.990931363207</c:v>
                </c:pt>
                <c:pt idx="295">
                  <c:v>2985.623423394696</c:v>
                </c:pt>
                <c:pt idx="296">
                  <c:v>2975.301206430151</c:v>
                </c:pt>
                <c:pt idx="297">
                  <c:v>2965.024041559949</c:v>
                </c:pt>
                <c:pt idx="298">
                  <c:v>2954.791691350836</c:v>
                </c:pt>
                <c:pt idx="299">
                  <c:v>2944.60391983557</c:v>
                </c:pt>
                <c:pt idx="300">
                  <c:v>2934.460492502424</c:v>
                </c:pt>
                <c:pt idx="301">
                  <c:v>2924.361176284992</c:v>
                </c:pt>
                <c:pt idx="302">
                  <c:v>2914.305739551947</c:v>
                </c:pt>
                <c:pt idx="303">
                  <c:v>2904.293952096896</c:v>
                </c:pt>
                <c:pt idx="304">
                  <c:v>2894.325585128372</c:v>
                </c:pt>
                <c:pt idx="305">
                  <c:v>2884.400411259815</c:v>
                </c:pt>
                <c:pt idx="306">
                  <c:v>2874.518204499735</c:v>
                </c:pt>
                <c:pt idx="307">
                  <c:v>2864.678740241867</c:v>
                </c:pt>
                <c:pt idx="308">
                  <c:v>2854.881795255463</c:v>
                </c:pt>
                <c:pt idx="309">
                  <c:v>2845.127147675611</c:v>
                </c:pt>
                <c:pt idx="310">
                  <c:v>2835.414576993697</c:v>
                </c:pt>
                <c:pt idx="311">
                  <c:v>2825.743864047824</c:v>
                </c:pt>
                <c:pt idx="312">
                  <c:v>2816.11479101352</c:v>
                </c:pt>
                <c:pt idx="313">
                  <c:v>2806.527141394221</c:v>
                </c:pt>
                <c:pt idx="314">
                  <c:v>2796.980700012118</c:v>
                </c:pt>
                <c:pt idx="315">
                  <c:v>2787.4752529989</c:v>
                </c:pt>
                <c:pt idx="316">
                  <c:v>2778.010587786598</c:v>
                </c:pt>
                <c:pt idx="317">
                  <c:v>2768.58649309858</c:v>
                </c:pt>
                <c:pt idx="318">
                  <c:v>2759.202758940532</c:v>
                </c:pt>
                <c:pt idx="319">
                  <c:v>2749.85917659151</c:v>
                </c:pt>
                <c:pt idx="320">
                  <c:v>2740.55553859511</c:v>
                </c:pt>
                <c:pt idx="321">
                  <c:v>2731.291638750731</c:v>
                </c:pt>
                <c:pt idx="322">
                  <c:v>2722.067272104803</c:v>
                </c:pt>
                <c:pt idx="323">
                  <c:v>2712.88223494215</c:v>
                </c:pt>
                <c:pt idx="324">
                  <c:v>2703.736324777431</c:v>
                </c:pt>
                <c:pt idx="325">
                  <c:v>2694.629340346645</c:v>
                </c:pt>
                <c:pt idx="326">
                  <c:v>2685.561081598647</c:v>
                </c:pt>
                <c:pt idx="327">
                  <c:v>2676.531349686813</c:v>
                </c:pt>
                <c:pt idx="328">
                  <c:v>2667.539946960684</c:v>
                </c:pt>
                <c:pt idx="329">
                  <c:v>2658.586676957751</c:v>
                </c:pt>
                <c:pt idx="330">
                  <c:v>2649.671344395261</c:v>
                </c:pt>
                <c:pt idx="331">
                  <c:v>2640.793755162076</c:v>
                </c:pt>
                <c:pt idx="332">
                  <c:v>2631.953716310688</c:v>
                </c:pt>
                <c:pt idx="333">
                  <c:v>2623.151036049128</c:v>
                </c:pt>
                <c:pt idx="334">
                  <c:v>2614.38552373311</c:v>
                </c:pt>
                <c:pt idx="335">
                  <c:v>2605.656989858084</c:v>
                </c:pt>
                <c:pt idx="336">
                  <c:v>2596.965246051516</c:v>
                </c:pt>
                <c:pt idx="337">
                  <c:v>2588.310105065084</c:v>
                </c:pt>
                <c:pt idx="338">
                  <c:v>2579.691380766987</c:v>
                </c:pt>
                <c:pt idx="339">
                  <c:v>2571.108888134303</c:v>
                </c:pt>
                <c:pt idx="340">
                  <c:v>2562.562443245474</c:v>
                </c:pt>
                <c:pt idx="341">
                  <c:v>2554.051863272753</c:v>
                </c:pt>
                <c:pt idx="342">
                  <c:v>2545.576966474715</c:v>
                </c:pt>
                <c:pt idx="343">
                  <c:v>2537.137572188932</c:v>
                </c:pt>
                <c:pt idx="344">
                  <c:v>2528.733500824571</c:v>
                </c:pt>
                <c:pt idx="345">
                  <c:v>2520.36457385512</c:v>
                </c:pt>
                <c:pt idx="346">
                  <c:v>2512.030613811214</c:v>
                </c:pt>
                <c:pt idx="347">
                  <c:v>2503.73144427337</c:v>
                </c:pt>
                <c:pt idx="348">
                  <c:v>2495.466889864931</c:v>
                </c:pt>
                <c:pt idx="349">
                  <c:v>2487.236776244968</c:v>
                </c:pt>
                <c:pt idx="350">
                  <c:v>2479.040930101308</c:v>
                </c:pt>
                <c:pt idx="351">
                  <c:v>2470.879179143525</c:v>
                </c:pt>
                <c:pt idx="352">
                  <c:v>2462.751352096076</c:v>
                </c:pt>
                <c:pt idx="353">
                  <c:v>2454.657278691445</c:v>
                </c:pt>
                <c:pt idx="354">
                  <c:v>2446.596789663305</c:v>
                </c:pt>
                <c:pt idx="355">
                  <c:v>2438.56971673983</c:v>
                </c:pt>
                <c:pt idx="356">
                  <c:v>2430.575892636925</c:v>
                </c:pt>
                <c:pt idx="357">
                  <c:v>2422.615151051666</c:v>
                </c:pt>
                <c:pt idx="358">
                  <c:v>2414.68732665565</c:v>
                </c:pt>
                <c:pt idx="359">
                  <c:v>2406.792255088412</c:v>
                </c:pt>
                <c:pt idx="360">
                  <c:v>2398.92977295104</c:v>
                </c:pt>
                <c:pt idx="361">
                  <c:v>2391.099717799624</c:v>
                </c:pt>
                <c:pt idx="362">
                  <c:v>2383.30192813891</c:v>
                </c:pt>
                <c:pt idx="363">
                  <c:v>2375.53624341594</c:v>
                </c:pt>
                <c:pt idx="364">
                  <c:v>2367.80250401375</c:v>
                </c:pt>
                <c:pt idx="365">
                  <c:v>2360.100551245097</c:v>
                </c:pt>
                <c:pt idx="366">
                  <c:v>2352.430227346283</c:v>
                </c:pt>
                <c:pt idx="367">
                  <c:v>2344.791375470971</c:v>
                </c:pt>
                <c:pt idx="368">
                  <c:v>2337.183839684092</c:v>
                </c:pt>
                <c:pt idx="369">
                  <c:v>2329.607464955764</c:v>
                </c:pt>
                <c:pt idx="370">
                  <c:v>2322.062097155239</c:v>
                </c:pt>
                <c:pt idx="371">
                  <c:v>2314.547583045002</c:v>
                </c:pt>
                <c:pt idx="372">
                  <c:v>2307.063770274747</c:v>
                </c:pt>
                <c:pt idx="373">
                  <c:v>2299.610507375555</c:v>
                </c:pt>
                <c:pt idx="374">
                  <c:v>2292.18764375403</c:v>
                </c:pt>
                <c:pt idx="375">
                  <c:v>2284.795029686511</c:v>
                </c:pt>
                <c:pt idx="376">
                  <c:v>2277.43251631326</c:v>
                </c:pt>
                <c:pt idx="377">
                  <c:v>2270.099955632825</c:v>
                </c:pt>
                <c:pt idx="378">
                  <c:v>2262.797200496297</c:v>
                </c:pt>
                <c:pt idx="379">
                  <c:v>2255.524104601747</c:v>
                </c:pt>
                <c:pt idx="380">
                  <c:v>2248.280522488596</c:v>
                </c:pt>
                <c:pt idx="381">
                  <c:v>2241.066309532065</c:v>
                </c:pt>
                <c:pt idx="382">
                  <c:v>2233.8813219377</c:v>
                </c:pt>
                <c:pt idx="383">
                  <c:v>2226.7254167359</c:v>
                </c:pt>
                <c:pt idx="384">
                  <c:v>2219.598451776452</c:v>
                </c:pt>
                <c:pt idx="385">
                  <c:v>2212.500285723213</c:v>
                </c:pt>
                <c:pt idx="386">
                  <c:v>2205.430778048727</c:v>
                </c:pt>
                <c:pt idx="387">
                  <c:v>2198.389789028929</c:v>
                </c:pt>
                <c:pt idx="388">
                  <c:v>2191.377179737874</c:v>
                </c:pt>
                <c:pt idx="389">
                  <c:v>2184.392812042535</c:v>
                </c:pt>
                <c:pt idx="390">
                  <c:v>2177.436548597577</c:v>
                </c:pt>
                <c:pt idx="391">
                  <c:v>2170.50825284025</c:v>
                </c:pt>
                <c:pt idx="392">
                  <c:v>2163.607788985237</c:v>
                </c:pt>
                <c:pt idx="393">
                  <c:v>2156.735022019644</c:v>
                </c:pt>
                <c:pt idx="394">
                  <c:v>2149.889817697863</c:v>
                </c:pt>
                <c:pt idx="395">
                  <c:v>2143.072042536688</c:v>
                </c:pt>
                <c:pt idx="396">
                  <c:v>2136.281563810252</c:v>
                </c:pt>
                <c:pt idx="397">
                  <c:v>2129.518249545191</c:v>
                </c:pt>
                <c:pt idx="398">
                  <c:v>2122.781968515661</c:v>
                </c:pt>
                <c:pt idx="399">
                  <c:v>2116.072590238576</c:v>
                </c:pt>
                <c:pt idx="400">
                  <c:v>2109.389984968724</c:v>
                </c:pt>
                <c:pt idx="401">
                  <c:v>2102.734023694006</c:v>
                </c:pt>
                <c:pt idx="402">
                  <c:v>2096.104578130694</c:v>
                </c:pt>
                <c:pt idx="403">
                  <c:v>2089.501520718712</c:v>
                </c:pt>
                <c:pt idx="404">
                  <c:v>2082.924724616948</c:v>
                </c:pt>
                <c:pt idx="405">
                  <c:v>2076.374063698641</c:v>
                </c:pt>
                <c:pt idx="406">
                  <c:v>2069.849412546711</c:v>
                </c:pt>
                <c:pt idx="407">
                  <c:v>2063.35064644925</c:v>
                </c:pt>
                <c:pt idx="408">
                  <c:v>2056.877641394917</c:v>
                </c:pt>
                <c:pt idx="409">
                  <c:v>2050.430274068483</c:v>
                </c:pt>
                <c:pt idx="410">
                  <c:v>2044.008421846302</c:v>
                </c:pt>
                <c:pt idx="411">
                  <c:v>2037.611962791892</c:v>
                </c:pt>
                <c:pt idx="412">
                  <c:v>2031.24077565151</c:v>
                </c:pt>
                <c:pt idx="413">
                  <c:v>2024.894739849789</c:v>
                </c:pt>
                <c:pt idx="414">
                  <c:v>2018.573735485373</c:v>
                </c:pt>
                <c:pt idx="415">
                  <c:v>2012.277643326596</c:v>
                </c:pt>
                <c:pt idx="416">
                  <c:v>2006.006344807191</c:v>
                </c:pt>
                <c:pt idx="417">
                  <c:v>1999.759722022058</c:v>
                </c:pt>
                <c:pt idx="418">
                  <c:v>1993.537657722998</c:v>
                </c:pt>
                <c:pt idx="419">
                  <c:v>1987.340035314564</c:v>
                </c:pt>
                <c:pt idx="420">
                  <c:v>1981.166738849854</c:v>
                </c:pt>
                <c:pt idx="421">
                  <c:v>1975.01765302642</c:v>
                </c:pt>
                <c:pt idx="422">
                  <c:v>1968.892663182098</c:v>
                </c:pt>
                <c:pt idx="423">
                  <c:v>1962.79165529101</c:v>
                </c:pt>
                <c:pt idx="424">
                  <c:v>1956.71451595945</c:v>
                </c:pt>
                <c:pt idx="425">
                  <c:v>1950.661132421905</c:v>
                </c:pt>
                <c:pt idx="426">
                  <c:v>1944.631392537045</c:v>
                </c:pt>
                <c:pt idx="427">
                  <c:v>1938.625184783805</c:v>
                </c:pt>
                <c:pt idx="428">
                  <c:v>1932.642398257374</c:v>
                </c:pt>
                <c:pt idx="429">
                  <c:v>1926.682922665376</c:v>
                </c:pt>
                <c:pt idx="430">
                  <c:v>1920.746648323928</c:v>
                </c:pt>
                <c:pt idx="431">
                  <c:v>1914.833466153836</c:v>
                </c:pt>
                <c:pt idx="432">
                  <c:v>1908.943267676766</c:v>
                </c:pt>
                <c:pt idx="433">
                  <c:v>1903.075945011398</c:v>
                </c:pt>
                <c:pt idx="434">
                  <c:v>1897.231390869756</c:v>
                </c:pt>
                <c:pt idx="435">
                  <c:v>1891.409498553382</c:v>
                </c:pt>
                <c:pt idx="436">
                  <c:v>1885.610161949663</c:v>
                </c:pt>
                <c:pt idx="437">
                  <c:v>1879.833275528135</c:v>
                </c:pt>
                <c:pt idx="438">
                  <c:v>1874.078734336819</c:v>
                </c:pt>
                <c:pt idx="439">
                  <c:v>1868.346433998603</c:v>
                </c:pt>
                <c:pt idx="440">
                  <c:v>1862.636270707606</c:v>
                </c:pt>
                <c:pt idx="441">
                  <c:v>1856.948141225626</c:v>
                </c:pt>
                <c:pt idx="442">
                  <c:v>1851.281942878531</c:v>
                </c:pt>
                <c:pt idx="443">
                  <c:v>1845.637573552793</c:v>
                </c:pt>
                <c:pt idx="444">
                  <c:v>1840.014931691936</c:v>
                </c:pt>
                <c:pt idx="445">
                  <c:v>1834.413916293051</c:v>
                </c:pt>
                <c:pt idx="446">
                  <c:v>1828.834426903351</c:v>
                </c:pt>
                <c:pt idx="447">
                  <c:v>1823.276363616753</c:v>
                </c:pt>
                <c:pt idx="448">
                  <c:v>1817.739627070425</c:v>
                </c:pt>
                <c:pt idx="449">
                  <c:v>1812.224118441431</c:v>
                </c:pt>
                <c:pt idx="450">
                  <c:v>1806.729739443365</c:v>
                </c:pt>
                <c:pt idx="451">
                  <c:v>1801.256392322995</c:v>
                </c:pt>
                <c:pt idx="452">
                  <c:v>1795.803979856988</c:v>
                </c:pt>
                <c:pt idx="453">
                  <c:v>1790.372405348551</c:v>
                </c:pt>
                <c:pt idx="454">
                  <c:v>1784.961572624231</c:v>
                </c:pt>
                <c:pt idx="455">
                  <c:v>1779.571386030626</c:v>
                </c:pt>
                <c:pt idx="456">
                  <c:v>1774.201750431176</c:v>
                </c:pt>
                <c:pt idx="457">
                  <c:v>1768.852571202954</c:v>
                </c:pt>
                <c:pt idx="458">
                  <c:v>1763.523754233501</c:v>
                </c:pt>
                <c:pt idx="459">
                  <c:v>1758.215205917643</c:v>
                </c:pt>
                <c:pt idx="460">
                  <c:v>1752.926833154413</c:v>
                </c:pt>
                <c:pt idx="461">
                  <c:v>1747.658543343857</c:v>
                </c:pt>
                <c:pt idx="462">
                  <c:v>1742.410244384017</c:v>
                </c:pt>
                <c:pt idx="463">
                  <c:v>1737.181844667803</c:v>
                </c:pt>
                <c:pt idx="464">
                  <c:v>1731.973253079994</c:v>
                </c:pt>
                <c:pt idx="465">
                  <c:v>1726.784378994183</c:v>
                </c:pt>
                <c:pt idx="466">
                  <c:v>1721.615132269777</c:v>
                </c:pt>
                <c:pt idx="467">
                  <c:v>1716.465423248998</c:v>
                </c:pt>
                <c:pt idx="468">
                  <c:v>1711.33516275395</c:v>
                </c:pt>
                <c:pt idx="469">
                  <c:v>1706.22426208365</c:v>
                </c:pt>
                <c:pt idx="470">
                  <c:v>1701.132633011105</c:v>
                </c:pt>
                <c:pt idx="471">
                  <c:v>1696.060187780438</c:v>
                </c:pt>
                <c:pt idx="472">
                  <c:v>1691.006839103945</c:v>
                </c:pt>
                <c:pt idx="473">
                  <c:v>1685.972500159303</c:v>
                </c:pt>
                <c:pt idx="474">
                  <c:v>1680.957084586674</c:v>
                </c:pt>
                <c:pt idx="475">
                  <c:v>1675.9605064859</c:v>
                </c:pt>
                <c:pt idx="476">
                  <c:v>1670.982680413685</c:v>
                </c:pt>
                <c:pt idx="477">
                  <c:v>1666.023521380846</c:v>
                </c:pt>
                <c:pt idx="478">
                  <c:v>1661.0829448495</c:v>
                </c:pt>
                <c:pt idx="479">
                  <c:v>1656.160866730348</c:v>
                </c:pt>
                <c:pt idx="480">
                  <c:v>1651.257203379942</c:v>
                </c:pt>
                <c:pt idx="481">
                  <c:v>1646.371871597956</c:v>
                </c:pt>
                <c:pt idx="482">
                  <c:v>1641.504788624522</c:v>
                </c:pt>
                <c:pt idx="483">
                  <c:v>1636.655872137528</c:v>
                </c:pt>
                <c:pt idx="484">
                  <c:v>1631.825040250002</c:v>
                </c:pt>
                <c:pt idx="485">
                  <c:v>1627.012211507438</c:v>
                </c:pt>
                <c:pt idx="486">
                  <c:v>1622.217304885203</c:v>
                </c:pt>
                <c:pt idx="487">
                  <c:v>1617.440239785908</c:v>
                </c:pt>
                <c:pt idx="488">
                  <c:v>1612.68093603687</c:v>
                </c:pt>
                <c:pt idx="489">
                  <c:v>1607.939313887511</c:v>
                </c:pt>
                <c:pt idx="490">
                  <c:v>1603.215294006802</c:v>
                </c:pt>
                <c:pt idx="491">
                  <c:v>1598.508797480782</c:v>
                </c:pt>
                <c:pt idx="492">
                  <c:v>1593.819745809988</c:v>
                </c:pt>
                <c:pt idx="493">
                  <c:v>1589.148060907008</c:v>
                </c:pt>
                <c:pt idx="494">
                  <c:v>1584.493665093967</c:v>
                </c:pt>
                <c:pt idx="495">
                  <c:v>1579.856481100065</c:v>
                </c:pt>
                <c:pt idx="496">
                  <c:v>1575.236432059163</c:v>
                </c:pt>
                <c:pt idx="497">
                  <c:v>1570.633441507327</c:v>
                </c:pt>
                <c:pt idx="498">
                  <c:v>1566.047433380435</c:v>
                </c:pt>
                <c:pt idx="499">
                  <c:v>1561.478332011733</c:v>
                </c:pt>
                <c:pt idx="500">
                  <c:v>1556.926062129532</c:v>
                </c:pt>
                <c:pt idx="501">
                  <c:v>1552.390548854776</c:v>
                </c:pt>
                <c:pt idx="502">
                  <c:v>1547.871717698732</c:v>
                </c:pt>
                <c:pt idx="503">
                  <c:v>1543.36949456064</c:v>
                </c:pt>
                <c:pt idx="504">
                  <c:v>1538.883805725411</c:v>
                </c:pt>
                <c:pt idx="505">
                  <c:v>1534.41457786131</c:v>
                </c:pt>
                <c:pt idx="506">
                  <c:v>1529.961738017687</c:v>
                </c:pt>
                <c:pt idx="507">
                  <c:v>1525.525213622685</c:v>
                </c:pt>
                <c:pt idx="508">
                  <c:v>1521.104932481006</c:v>
                </c:pt>
                <c:pt idx="509">
                  <c:v>1516.700822771671</c:v>
                </c:pt>
                <c:pt idx="510">
                  <c:v>1512.312813045786</c:v>
                </c:pt>
                <c:pt idx="511">
                  <c:v>1507.940832224316</c:v>
                </c:pt>
                <c:pt idx="512">
                  <c:v>1503.584809595938</c:v>
                </c:pt>
                <c:pt idx="513">
                  <c:v>1499.244674814804</c:v>
                </c:pt>
                <c:pt idx="514">
                  <c:v>1494.92035789843</c:v>
                </c:pt>
                <c:pt idx="515">
                  <c:v>1490.611789225488</c:v>
                </c:pt>
                <c:pt idx="516">
                  <c:v>1486.318899533727</c:v>
                </c:pt>
                <c:pt idx="517">
                  <c:v>1482.041619917805</c:v>
                </c:pt>
                <c:pt idx="518">
                  <c:v>1477.779881827196</c:v>
                </c:pt>
                <c:pt idx="519">
                  <c:v>1473.533617064108</c:v>
                </c:pt>
                <c:pt idx="520">
                  <c:v>1469.30275778138</c:v>
                </c:pt>
                <c:pt idx="521">
                  <c:v>1465.087236480441</c:v>
                </c:pt>
                <c:pt idx="522">
                  <c:v>1460.886986009234</c:v>
                </c:pt>
                <c:pt idx="523">
                  <c:v>1456.70193956018</c:v>
                </c:pt>
                <c:pt idx="524">
                  <c:v>1452.532030668177</c:v>
                </c:pt>
                <c:pt idx="525">
                  <c:v>1448.377193208551</c:v>
                </c:pt>
                <c:pt idx="526">
                  <c:v>1444.23736139508</c:v>
                </c:pt>
                <c:pt idx="527">
                  <c:v>1440.112469778005</c:v>
                </c:pt>
                <c:pt idx="528">
                  <c:v>1436.002453242056</c:v>
                </c:pt>
                <c:pt idx="529">
                  <c:v>1431.907247004488</c:v>
                </c:pt>
                <c:pt idx="530">
                  <c:v>1427.82678661315</c:v>
                </c:pt>
                <c:pt idx="531">
                  <c:v>1423.761007944515</c:v>
                </c:pt>
                <c:pt idx="532">
                  <c:v>1419.709847201809</c:v>
                </c:pt>
                <c:pt idx="533">
                  <c:v>1415.673240913062</c:v>
                </c:pt>
                <c:pt idx="534">
                  <c:v>1411.651125929244</c:v>
                </c:pt>
                <c:pt idx="535">
                  <c:v>1407.643439422334</c:v>
                </c:pt>
                <c:pt idx="536">
                  <c:v>1403.650118883512</c:v>
                </c:pt>
                <c:pt idx="537">
                  <c:v>1399.671102121248</c:v>
                </c:pt>
                <c:pt idx="538">
                  <c:v>1395.706327259494</c:v>
                </c:pt>
                <c:pt idx="539">
                  <c:v>1391.755732735805</c:v>
                </c:pt>
                <c:pt idx="540">
                  <c:v>1387.819257299573</c:v>
                </c:pt>
                <c:pt idx="541">
                  <c:v>1383.896840010165</c:v>
                </c:pt>
                <c:pt idx="542">
                  <c:v>1379.988420235153</c:v>
                </c:pt>
                <c:pt idx="543">
                  <c:v>1376.093937648526</c:v>
                </c:pt>
                <c:pt idx="544">
                  <c:v>1372.213332228905</c:v>
                </c:pt>
                <c:pt idx="545">
                  <c:v>1368.346544257787</c:v>
                </c:pt>
                <c:pt idx="546">
                  <c:v>1364.49351431778</c:v>
                </c:pt>
                <c:pt idx="547">
                  <c:v>1360.654183290889</c:v>
                </c:pt>
                <c:pt idx="548">
                  <c:v>1356.828492356748</c:v>
                </c:pt>
                <c:pt idx="549">
                  <c:v>1353.016382990952</c:v>
                </c:pt>
                <c:pt idx="550">
                  <c:v>1349.217796963295</c:v>
                </c:pt>
                <c:pt idx="551">
                  <c:v>1345.43267633613</c:v>
                </c:pt>
                <c:pt idx="552">
                  <c:v>1341.66096346263</c:v>
                </c:pt>
                <c:pt idx="553">
                  <c:v>1337.902600985158</c:v>
                </c:pt>
                <c:pt idx="554">
                  <c:v>1334.15753183357</c:v>
                </c:pt>
                <c:pt idx="555">
                  <c:v>1330.425699223605</c:v>
                </c:pt>
                <c:pt idx="556">
                  <c:v>1326.7070466552</c:v>
                </c:pt>
                <c:pt idx="557">
                  <c:v>1323.00151791087</c:v>
                </c:pt>
                <c:pt idx="558">
                  <c:v>1319.309057054124</c:v>
                </c:pt>
                <c:pt idx="559">
                  <c:v>1315.6296084278</c:v>
                </c:pt>
                <c:pt idx="560">
                  <c:v>1311.963116652503</c:v>
                </c:pt>
                <c:pt idx="561">
                  <c:v>1308.309526625</c:v>
                </c:pt>
                <c:pt idx="562">
                  <c:v>1304.668783516656</c:v>
                </c:pt>
                <c:pt idx="563">
                  <c:v>1301.040832771844</c:v>
                </c:pt>
                <c:pt idx="564">
                  <c:v>1297.425620106421</c:v>
                </c:pt>
                <c:pt idx="565">
                  <c:v>1293.823091506124</c:v>
                </c:pt>
                <c:pt idx="566">
                  <c:v>1290.23319322509</c:v>
                </c:pt>
                <c:pt idx="567">
                  <c:v>1286.6558717843</c:v>
                </c:pt>
                <c:pt idx="568">
                  <c:v>1283.091073970041</c:v>
                </c:pt>
                <c:pt idx="569">
                  <c:v>1279.538746832443</c:v>
                </c:pt>
                <c:pt idx="570">
                  <c:v>1275.998837683943</c:v>
                </c:pt>
                <c:pt idx="571">
                  <c:v>1272.471294097818</c:v>
                </c:pt>
                <c:pt idx="572">
                  <c:v>1268.956063906675</c:v>
                </c:pt>
                <c:pt idx="573">
                  <c:v>1265.453095201014</c:v>
                </c:pt>
                <c:pt idx="574">
                  <c:v>1261.962336327752</c:v>
                </c:pt>
                <c:pt idx="575">
                  <c:v>1258.483735888757</c:v>
                </c:pt>
                <c:pt idx="576">
                  <c:v>1255.017242739438</c:v>
                </c:pt>
                <c:pt idx="577">
                  <c:v>1251.562805987277</c:v>
                </c:pt>
                <c:pt idx="578">
                  <c:v>1248.12037499043</c:v>
                </c:pt>
                <c:pt idx="579">
                  <c:v>1244.689899356298</c:v>
                </c:pt>
                <c:pt idx="580">
                  <c:v>1241.271328940126</c:v>
                </c:pt>
                <c:pt idx="581">
                  <c:v>1237.864613843597</c:v>
                </c:pt>
                <c:pt idx="582">
                  <c:v>1234.469704413468</c:v>
                </c:pt>
                <c:pt idx="583">
                  <c:v>1231.08655124016</c:v>
                </c:pt>
                <c:pt idx="584">
                  <c:v>1227.715105156402</c:v>
                </c:pt>
                <c:pt idx="585">
                  <c:v>1224.355317235862</c:v>
                </c:pt>
                <c:pt idx="586">
                  <c:v>1221.007138791809</c:v>
                </c:pt>
                <c:pt idx="587">
                  <c:v>1217.67052137576</c:v>
                </c:pt>
                <c:pt idx="588">
                  <c:v>1214.345416776118</c:v>
                </c:pt>
                <c:pt idx="589">
                  <c:v>1211.0317770169</c:v>
                </c:pt>
                <c:pt idx="590">
                  <c:v>1207.729554356358</c:v>
                </c:pt>
                <c:pt idx="591">
                  <c:v>1204.438701285708</c:v>
                </c:pt>
                <c:pt idx="592">
                  <c:v>1201.159170527803</c:v>
                </c:pt>
                <c:pt idx="593">
                  <c:v>1197.890915035863</c:v>
                </c:pt>
                <c:pt idx="594">
                  <c:v>1194.633887992156</c:v>
                </c:pt>
                <c:pt idx="595">
                  <c:v>1191.388042806756</c:v>
                </c:pt>
                <c:pt idx="596">
                  <c:v>1188.153333116231</c:v>
                </c:pt>
                <c:pt idx="597">
                  <c:v>1184.92971278243</c:v>
                </c:pt>
                <c:pt idx="598">
                  <c:v>1181.717135891176</c:v>
                </c:pt>
                <c:pt idx="599">
                  <c:v>1178.51555675106</c:v>
                </c:pt>
                <c:pt idx="600">
                  <c:v>1175.324929892188</c:v>
                </c:pt>
                <c:pt idx="601">
                  <c:v>1172.145210064938</c:v>
                </c:pt>
                <c:pt idx="602">
                  <c:v>1168.976352238752</c:v>
                </c:pt>
                <c:pt idx="603">
                  <c:v>1165.818311600927</c:v>
                </c:pt>
                <c:pt idx="604">
                  <c:v>1162.671043555375</c:v>
                </c:pt>
                <c:pt idx="605">
                  <c:v>1159.534503721468</c:v>
                </c:pt>
                <c:pt idx="606">
                  <c:v>1156.408647932792</c:v>
                </c:pt>
                <c:pt idx="607">
                  <c:v>1153.293432236012</c:v>
                </c:pt>
                <c:pt idx="608">
                  <c:v>1150.188812889665</c:v>
                </c:pt>
                <c:pt idx="609">
                  <c:v>1147.094746362987</c:v>
                </c:pt>
                <c:pt idx="610">
                  <c:v>1144.011189334765</c:v>
                </c:pt>
                <c:pt idx="611">
                  <c:v>1140.938098692183</c:v>
                </c:pt>
                <c:pt idx="612">
                  <c:v>1137.875431529644</c:v>
                </c:pt>
                <c:pt idx="613">
                  <c:v>1134.82314514766</c:v>
                </c:pt>
                <c:pt idx="614">
                  <c:v>1131.781197051698</c:v>
                </c:pt>
                <c:pt idx="615">
                  <c:v>1128.749544951063</c:v>
                </c:pt>
                <c:pt idx="616">
                  <c:v>1125.728146757776</c:v>
                </c:pt>
                <c:pt idx="617">
                  <c:v>1122.716960585443</c:v>
                </c:pt>
                <c:pt idx="618">
                  <c:v>1119.715944748182</c:v>
                </c:pt>
                <c:pt idx="619">
                  <c:v>1116.72505775949</c:v>
                </c:pt>
                <c:pt idx="620">
                  <c:v>1113.744258331155</c:v>
                </c:pt>
                <c:pt idx="621">
                  <c:v>1110.7735053722</c:v>
                </c:pt>
                <c:pt idx="622">
                  <c:v>1107.812757987758</c:v>
                </c:pt>
                <c:pt idx="623">
                  <c:v>1104.86197547803</c:v>
                </c:pt>
                <c:pt idx="624">
                  <c:v>1101.92111733721</c:v>
                </c:pt>
                <c:pt idx="625">
                  <c:v>1098.990143252417</c:v>
                </c:pt>
                <c:pt idx="626">
                  <c:v>1096.069013102663</c:v>
                </c:pt>
                <c:pt idx="627">
                  <c:v>1093.157686957782</c:v>
                </c:pt>
                <c:pt idx="628">
                  <c:v>1090.256125077396</c:v>
                </c:pt>
                <c:pt idx="629">
                  <c:v>1087.364287909887</c:v>
                </c:pt>
                <c:pt idx="630">
                  <c:v>1084.482136091369</c:v>
                </c:pt>
                <c:pt idx="631">
                  <c:v>1081.609630444668</c:v>
                </c:pt>
                <c:pt idx="632">
                  <c:v>1078.746731978287</c:v>
                </c:pt>
                <c:pt idx="633">
                  <c:v>1075.893401885431</c:v>
                </c:pt>
                <c:pt idx="634">
                  <c:v>1073.049601542975</c:v>
                </c:pt>
                <c:pt idx="635">
                  <c:v>1070.215292510475</c:v>
                </c:pt>
                <c:pt idx="636">
                  <c:v>1067.390436529194</c:v>
                </c:pt>
                <c:pt idx="637">
                  <c:v>1064.574995521091</c:v>
                </c:pt>
                <c:pt idx="638">
                  <c:v>1061.76893158786</c:v>
                </c:pt>
                <c:pt idx="639">
                  <c:v>1058.972207009957</c:v>
                </c:pt>
                <c:pt idx="640">
                  <c:v>1056.18478424562</c:v>
                </c:pt>
                <c:pt idx="641">
                  <c:v>1053.40662592993</c:v>
                </c:pt>
                <c:pt idx="642">
                  <c:v>1050.637694873827</c:v>
                </c:pt>
                <c:pt idx="643">
                  <c:v>1047.877954063201</c:v>
                </c:pt>
                <c:pt idx="644">
                  <c:v>1045.127366657905</c:v>
                </c:pt>
                <c:pt idx="645">
                  <c:v>1042.385895990846</c:v>
                </c:pt>
                <c:pt idx="646">
                  <c:v>1039.653505567045</c:v>
                </c:pt>
                <c:pt idx="647">
                  <c:v>1036.930159062713</c:v>
                </c:pt>
                <c:pt idx="648">
                  <c:v>1034.215820324324</c:v>
                </c:pt>
                <c:pt idx="649">
                  <c:v>1031.510453367705</c:v>
                </c:pt>
                <c:pt idx="650">
                  <c:v>1028.81402237713</c:v>
                </c:pt>
                <c:pt idx="651">
                  <c:v>1026.12649170441</c:v>
                </c:pt>
                <c:pt idx="652">
                  <c:v>1023.447825868</c:v>
                </c:pt>
                <c:pt idx="653">
                  <c:v>1020.777989552092</c:v>
                </c:pt>
                <c:pt idx="654">
                  <c:v>1018.116947605748</c:v>
                </c:pt>
                <c:pt idx="655">
                  <c:v>1015.464665042004</c:v>
                </c:pt>
                <c:pt idx="656">
                  <c:v>1012.821107037008</c:v>
                </c:pt>
                <c:pt idx="657">
                  <c:v>1010.186238929114</c:v>
                </c:pt>
                <c:pt idx="658">
                  <c:v>1007.560026218056</c:v>
                </c:pt>
                <c:pt idx="659">
                  <c:v>1004.94243456407</c:v>
                </c:pt>
                <c:pt idx="660">
                  <c:v>1002.333429787025</c:v>
                </c:pt>
                <c:pt idx="661">
                  <c:v>999.7329778656016</c:v>
                </c:pt>
                <c:pt idx="662">
                  <c:v>997.1410449364162</c:v>
                </c:pt>
                <c:pt idx="663">
                  <c:v>994.5575972931962</c:v>
                </c:pt>
                <c:pt idx="664">
                  <c:v>991.9826013859495</c:v>
                </c:pt>
                <c:pt idx="665">
                  <c:v>989.4160238201143</c:v>
                </c:pt>
                <c:pt idx="666">
                  <c:v>986.8578313557579</c:v>
                </c:pt>
                <c:pt idx="667">
                  <c:v>984.3079909067313</c:v>
                </c:pt>
                <c:pt idx="668">
                  <c:v>981.7664695398715</c:v>
                </c:pt>
                <c:pt idx="669">
                  <c:v>979.233234474187</c:v>
                </c:pt>
                <c:pt idx="670">
                  <c:v>976.7082530800459</c:v>
                </c:pt>
                <c:pt idx="671">
                  <c:v>974.191492878377</c:v>
                </c:pt>
                <c:pt idx="672">
                  <c:v>971.6829215398848</c:v>
                </c:pt>
                <c:pt idx="673">
                  <c:v>969.1825068842224</c:v>
                </c:pt>
                <c:pt idx="674">
                  <c:v>966.6902168792666</c:v>
                </c:pt>
                <c:pt idx="675">
                  <c:v>964.2060196402684</c:v>
                </c:pt>
                <c:pt idx="676">
                  <c:v>961.729883429115</c:v>
                </c:pt>
                <c:pt idx="677">
                  <c:v>959.2617766535483</c:v>
                </c:pt>
                <c:pt idx="678">
                  <c:v>956.8016678663998</c:v>
                </c:pt>
                <c:pt idx="679">
                  <c:v>954.3495257648174</c:v>
                </c:pt>
                <c:pt idx="680">
                  <c:v>951.9053191895139</c:v>
                </c:pt>
                <c:pt idx="681">
                  <c:v>949.469017124002</c:v>
                </c:pt>
                <c:pt idx="682">
                  <c:v>947.0405886938669</c:v>
                </c:pt>
                <c:pt idx="683">
                  <c:v>944.6200031659884</c:v>
                </c:pt>
                <c:pt idx="684">
                  <c:v>942.2072299478234</c:v>
                </c:pt>
                <c:pt idx="685">
                  <c:v>939.8022385866622</c:v>
                </c:pt>
                <c:pt idx="686">
                  <c:v>937.4049987688986</c:v>
                </c:pt>
                <c:pt idx="687">
                  <c:v>935.0154803192897</c:v>
                </c:pt>
                <c:pt idx="688">
                  <c:v>932.633653200243</c:v>
                </c:pt>
                <c:pt idx="689">
                  <c:v>930.259487511098</c:v>
                </c:pt>
                <c:pt idx="690">
                  <c:v>927.8929534873994</c:v>
                </c:pt>
                <c:pt idx="691">
                  <c:v>925.5340215001996</c:v>
                </c:pt>
                <c:pt idx="692">
                  <c:v>923.182662055338</c:v>
                </c:pt>
                <c:pt idx="693">
                  <c:v>920.8388457927474</c:v>
                </c:pt>
                <c:pt idx="694">
                  <c:v>918.5025434857477</c:v>
                </c:pt>
                <c:pt idx="695">
                  <c:v>916.173726040373</c:v>
                </c:pt>
                <c:pt idx="696">
                  <c:v>913.8523644946368</c:v>
                </c:pt>
                <c:pt idx="697">
                  <c:v>911.538430017892</c:v>
                </c:pt>
                <c:pt idx="698">
                  <c:v>909.231893910123</c:v>
                </c:pt>
                <c:pt idx="699">
                  <c:v>906.9327276012663</c:v>
                </c:pt>
                <c:pt idx="700">
                  <c:v>904.6409026505496</c:v>
                </c:pt>
                <c:pt idx="701">
                  <c:v>902.3563907458129</c:v>
                </c:pt>
                <c:pt idx="702">
                  <c:v>900.0791637028434</c:v>
                </c:pt>
                <c:pt idx="703">
                  <c:v>897.8091934646999</c:v>
                </c:pt>
                <c:pt idx="704">
                  <c:v>895.5464521010803</c:v>
                </c:pt>
                <c:pt idx="705">
                  <c:v>893.290911807647</c:v>
                </c:pt>
                <c:pt idx="706">
                  <c:v>891.0425449053744</c:v>
                </c:pt>
                <c:pt idx="707">
                  <c:v>888.8013238399126</c:v>
                </c:pt>
                <c:pt idx="708">
                  <c:v>886.5672211809374</c:v>
                </c:pt>
                <c:pt idx="709">
                  <c:v>884.3402096215164</c:v>
                </c:pt>
                <c:pt idx="710">
                  <c:v>882.1202619774582</c:v>
                </c:pt>
                <c:pt idx="711">
                  <c:v>879.9073511866894</c:v>
                </c:pt>
                <c:pt idx="712">
                  <c:v>877.7014503086347</c:v>
                </c:pt>
                <c:pt idx="713">
                  <c:v>875.5025325235711</c:v>
                </c:pt>
                <c:pt idx="714">
                  <c:v>873.3105711320244</c:v>
                </c:pt>
                <c:pt idx="715">
                  <c:v>871.1255395541455</c:v>
                </c:pt>
                <c:pt idx="716">
                  <c:v>868.9474113290878</c:v>
                </c:pt>
                <c:pt idx="717">
                  <c:v>866.7761601144074</c:v>
                </c:pt>
                <c:pt idx="718">
                  <c:v>864.6117596854544</c:v>
                </c:pt>
                <c:pt idx="719">
                  <c:v>862.4541839347604</c:v>
                </c:pt>
                <c:pt idx="720">
                  <c:v>860.3034068714518</c:v>
                </c:pt>
                <c:pt idx="721">
                  <c:v>858.159402620633</c:v>
                </c:pt>
                <c:pt idx="722">
                  <c:v>856.0221454228154</c:v>
                </c:pt>
                <c:pt idx="723">
                  <c:v>853.8916096333127</c:v>
                </c:pt>
                <c:pt idx="724">
                  <c:v>851.7677697216634</c:v>
                </c:pt>
                <c:pt idx="725">
                  <c:v>849.6506002710342</c:v>
                </c:pt>
                <c:pt idx="726">
                  <c:v>847.540075977657</c:v>
                </c:pt>
                <c:pt idx="727">
                  <c:v>845.4361716502383</c:v>
                </c:pt>
                <c:pt idx="728">
                  <c:v>843.3388622093946</c:v>
                </c:pt>
                <c:pt idx="729">
                  <c:v>841.248122687086</c:v>
                </c:pt>
                <c:pt idx="730">
                  <c:v>839.1639282260243</c:v>
                </c:pt>
                <c:pt idx="731">
                  <c:v>837.0862540791515</c:v>
                </c:pt>
                <c:pt idx="732">
                  <c:v>835.015075609043</c:v>
                </c:pt>
                <c:pt idx="733">
                  <c:v>832.9503682873616</c:v>
                </c:pt>
                <c:pt idx="734">
                  <c:v>830.8921076943224</c:v>
                </c:pt>
                <c:pt idx="735">
                  <c:v>828.8402695181084</c:v>
                </c:pt>
                <c:pt idx="736">
                  <c:v>826.7948295543535</c:v>
                </c:pt>
                <c:pt idx="737">
                  <c:v>824.7557637055751</c:v>
                </c:pt>
                <c:pt idx="738">
                  <c:v>822.723047980656</c:v>
                </c:pt>
                <c:pt idx="739">
                  <c:v>820.6966584942793</c:v>
                </c:pt>
                <c:pt idx="740">
                  <c:v>818.6765714664206</c:v>
                </c:pt>
                <c:pt idx="741">
                  <c:v>816.6627632217956</c:v>
                </c:pt>
                <c:pt idx="742">
                  <c:v>814.6552101893391</c:v>
                </c:pt>
                <c:pt idx="743">
                  <c:v>812.653888901681</c:v>
                </c:pt>
                <c:pt idx="744">
                  <c:v>810.65877599462</c:v>
                </c:pt>
                <c:pt idx="745">
                  <c:v>808.6698482066085</c:v>
                </c:pt>
                <c:pt idx="746">
                  <c:v>806.6870823782205</c:v>
                </c:pt>
                <c:pt idx="747">
                  <c:v>804.7104554516597</c:v>
                </c:pt>
                <c:pt idx="748">
                  <c:v>802.73994447023</c:v>
                </c:pt>
                <c:pt idx="749">
                  <c:v>800.775526577846</c:v>
                </c:pt>
                <c:pt idx="750">
                  <c:v>798.8171790184979</c:v>
                </c:pt>
                <c:pt idx="751">
                  <c:v>796.8648791357823</c:v>
                </c:pt>
                <c:pt idx="752">
                  <c:v>794.9186043723805</c:v>
                </c:pt>
                <c:pt idx="753">
                  <c:v>792.978332269573</c:v>
                </c:pt>
                <c:pt idx="754">
                  <c:v>791.0440404667311</c:v>
                </c:pt>
                <c:pt idx="755">
                  <c:v>789.1157067008492</c:v>
                </c:pt>
                <c:pt idx="756">
                  <c:v>787.1933088060295</c:v>
                </c:pt>
                <c:pt idx="757">
                  <c:v>785.2768247130206</c:v>
                </c:pt>
                <c:pt idx="758">
                  <c:v>783.3662324487124</c:v>
                </c:pt>
                <c:pt idx="759">
                  <c:v>781.4615101356788</c:v>
                </c:pt>
                <c:pt idx="760">
                  <c:v>779.5626359916769</c:v>
                </c:pt>
                <c:pt idx="761">
                  <c:v>777.6695883291898</c:v>
                </c:pt>
                <c:pt idx="762">
                  <c:v>775.782345554946</c:v>
                </c:pt>
                <c:pt idx="763">
                  <c:v>773.9008861694471</c:v>
                </c:pt>
                <c:pt idx="764">
                  <c:v>772.0251887665158</c:v>
                </c:pt>
                <c:pt idx="765">
                  <c:v>770.155232032811</c:v>
                </c:pt>
                <c:pt idx="766">
                  <c:v>768.290994747385</c:v>
                </c:pt>
                <c:pt idx="767">
                  <c:v>766.4324557812021</c:v>
                </c:pt>
                <c:pt idx="768">
                  <c:v>764.5795940967188</c:v>
                </c:pt>
                <c:pt idx="769">
                  <c:v>762.7323887473805</c:v>
                </c:pt>
                <c:pt idx="770">
                  <c:v>760.8908188772128</c:v>
                </c:pt>
                <c:pt idx="771">
                  <c:v>759.054863720356</c:v>
                </c:pt>
                <c:pt idx="772">
                  <c:v>757.2245026006097</c:v>
                </c:pt>
                <c:pt idx="773">
                  <c:v>755.3997149310075</c:v>
                </c:pt>
                <c:pt idx="774">
                  <c:v>753.580480213357</c:v>
                </c:pt>
                <c:pt idx="775">
                  <c:v>751.766778037818</c:v>
                </c:pt>
                <c:pt idx="776">
                  <c:v>749.958588082455</c:v>
                </c:pt>
                <c:pt idx="777">
                  <c:v>748.1558901128061</c:v>
                </c:pt>
                <c:pt idx="778">
                  <c:v>746.3586639814472</c:v>
                </c:pt>
                <c:pt idx="779">
                  <c:v>744.566889627578</c:v>
                </c:pt>
                <c:pt idx="780">
                  <c:v>742.780547076568</c:v>
                </c:pt>
                <c:pt idx="781">
                  <c:v>740.9996164395594</c:v>
                </c:pt>
                <c:pt idx="782">
                  <c:v>739.2240779130345</c:v>
                </c:pt>
                <c:pt idx="783">
                  <c:v>737.4539117783856</c:v>
                </c:pt>
                <c:pt idx="784">
                  <c:v>735.6890984015125</c:v>
                </c:pt>
                <c:pt idx="785">
                  <c:v>733.9296182324064</c:v>
                </c:pt>
                <c:pt idx="786">
                  <c:v>732.175451804725</c:v>
                </c:pt>
                <c:pt idx="787">
                  <c:v>730.4265797353853</c:v>
                </c:pt>
                <c:pt idx="788">
                  <c:v>728.6829827241755</c:v>
                </c:pt>
                <c:pt idx="789">
                  <c:v>726.9446415533121</c:v>
                </c:pt>
                <c:pt idx="790">
                  <c:v>725.2115370870752</c:v>
                </c:pt>
                <c:pt idx="791">
                  <c:v>723.483650271377</c:v>
                </c:pt>
                <c:pt idx="792">
                  <c:v>721.7609621333767</c:v>
                </c:pt>
                <c:pt idx="793">
                  <c:v>720.0434537810793</c:v>
                </c:pt>
                <c:pt idx="794">
                  <c:v>718.3311064029461</c:v>
                </c:pt>
                <c:pt idx="795">
                  <c:v>716.623901267498</c:v>
                </c:pt>
                <c:pt idx="796">
                  <c:v>714.9218197229111</c:v>
                </c:pt>
                <c:pt idx="797">
                  <c:v>713.224843196662</c:v>
                </c:pt>
                <c:pt idx="798">
                  <c:v>711.5329531951043</c:v>
                </c:pt>
                <c:pt idx="799">
                  <c:v>709.8461313031153</c:v>
                </c:pt>
                <c:pt idx="800">
                  <c:v>708.1643591836843</c:v>
                </c:pt>
                <c:pt idx="801">
                  <c:v>706.4876185775594</c:v>
                </c:pt>
                <c:pt idx="802">
                  <c:v>704.8158913028543</c:v>
                </c:pt>
                <c:pt idx="803">
                  <c:v>703.1491592546788</c:v>
                </c:pt>
                <c:pt idx="804">
                  <c:v>701.4874044047542</c:v>
                </c:pt>
                <c:pt idx="805">
                  <c:v>699.8306088010663</c:v>
                </c:pt>
                <c:pt idx="806">
                  <c:v>698.178754567466</c:v>
                </c:pt>
                <c:pt idx="807">
                  <c:v>696.5318239033129</c:v>
                </c:pt>
                <c:pt idx="808">
                  <c:v>694.8897990831221</c:v>
                </c:pt>
                <c:pt idx="809">
                  <c:v>693.2526624561843</c:v>
                </c:pt>
                <c:pt idx="810">
                  <c:v>691.6203964462093</c:v>
                </c:pt>
                <c:pt idx="811">
                  <c:v>689.9929835509711</c:v>
                </c:pt>
                <c:pt idx="812">
                  <c:v>688.3704063419397</c:v>
                </c:pt>
                <c:pt idx="813">
                  <c:v>686.7526474639324</c:v>
                </c:pt>
                <c:pt idx="814">
                  <c:v>685.1396896347634</c:v>
                </c:pt>
                <c:pt idx="815">
                  <c:v>683.5315156448893</c:v>
                </c:pt>
                <c:pt idx="816">
                  <c:v>681.9281083570465</c:v>
                </c:pt>
                <c:pt idx="817">
                  <c:v>680.3294507059209</c:v>
                </c:pt>
                <c:pt idx="818">
                  <c:v>678.7355256977994</c:v>
                </c:pt>
                <c:pt idx="819">
                  <c:v>677.1463164102041</c:v>
                </c:pt>
                <c:pt idx="820">
                  <c:v>675.5618059915871</c:v>
                </c:pt>
                <c:pt idx="821">
                  <c:v>673.9819776609498</c:v>
                </c:pt>
                <c:pt idx="822">
                  <c:v>672.4068147075383</c:v>
                </c:pt>
                <c:pt idx="823">
                  <c:v>670.8363004904839</c:v>
                </c:pt>
                <c:pt idx="824">
                  <c:v>669.2704184384765</c:v>
                </c:pt>
                <c:pt idx="825">
                  <c:v>667.7091520494293</c:v>
                </c:pt>
                <c:pt idx="826">
                  <c:v>666.152484890152</c:v>
                </c:pt>
                <c:pt idx="827">
                  <c:v>664.600400596012</c:v>
                </c:pt>
                <c:pt idx="828">
                  <c:v>663.0528828706161</c:v>
                </c:pt>
                <c:pt idx="829">
                  <c:v>661.5099154854773</c:v>
                </c:pt>
                <c:pt idx="830">
                  <c:v>659.971482279696</c:v>
                </c:pt>
                <c:pt idx="831">
                  <c:v>658.4375671596287</c:v>
                </c:pt>
                <c:pt idx="832">
                  <c:v>656.90815409858</c:v>
                </c:pt>
                <c:pt idx="833">
                  <c:v>655.3832271364679</c:v>
                </c:pt>
                <c:pt idx="834">
                  <c:v>653.862770379522</c:v>
                </c:pt>
                <c:pt idx="835">
                  <c:v>652.3467679999561</c:v>
                </c:pt>
                <c:pt idx="836">
                  <c:v>650.8352042356594</c:v>
                </c:pt>
                <c:pt idx="837">
                  <c:v>649.3280633898792</c:v>
                </c:pt>
                <c:pt idx="838">
                  <c:v>647.8253298309158</c:v>
                </c:pt>
                <c:pt idx="839">
                  <c:v>646.3269879918194</c:v>
                </c:pt>
                <c:pt idx="840">
                  <c:v>644.8330223700631</c:v>
                </c:pt>
                <c:pt idx="841">
                  <c:v>643.3434175272516</c:v>
                </c:pt>
                <c:pt idx="842">
                  <c:v>641.8581580888164</c:v>
                </c:pt>
                <c:pt idx="843">
                  <c:v>640.3772287437072</c:v>
                </c:pt>
                <c:pt idx="844">
                  <c:v>638.9006142441074</c:v>
                </c:pt>
                <c:pt idx="845">
                  <c:v>637.4282994051014</c:v>
                </c:pt>
                <c:pt idx="846">
                  <c:v>635.9602691044109</c:v>
                </c:pt>
                <c:pt idx="847">
                  <c:v>634.4965082820923</c:v>
                </c:pt>
                <c:pt idx="848">
                  <c:v>633.0370019402194</c:v>
                </c:pt>
                <c:pt idx="849">
                  <c:v>631.5817351426136</c:v>
                </c:pt>
                <c:pt idx="850">
                  <c:v>630.1306930145494</c:v>
                </c:pt>
                <c:pt idx="851">
                  <c:v>628.6838607424536</c:v>
                </c:pt>
                <c:pt idx="852">
                  <c:v>627.2412235736317</c:v>
                </c:pt>
                <c:pt idx="853">
                  <c:v>625.8027668159611</c:v>
                </c:pt>
                <c:pt idx="854">
                  <c:v>624.3684758376377</c:v>
                </c:pt>
                <c:pt idx="855">
                  <c:v>622.938336066851</c:v>
                </c:pt>
                <c:pt idx="856">
                  <c:v>621.5123329915399</c:v>
                </c:pt>
                <c:pt idx="857">
                  <c:v>620.0904521590884</c:v>
                </c:pt>
                <c:pt idx="858">
                  <c:v>618.672679176052</c:v>
                </c:pt>
                <c:pt idx="859">
                  <c:v>617.2589997078891</c:v>
                </c:pt>
                <c:pt idx="860">
                  <c:v>615.8493994786665</c:v>
                </c:pt>
                <c:pt idx="861">
                  <c:v>614.4438642708025</c:v>
                </c:pt>
                <c:pt idx="862">
                  <c:v>613.0423799247867</c:v>
                </c:pt>
                <c:pt idx="863">
                  <c:v>611.6449323389047</c:v>
                </c:pt>
                <c:pt idx="864">
                  <c:v>610.2515074689721</c:v>
                </c:pt>
                <c:pt idx="865">
                  <c:v>608.8620913280604</c:v>
                </c:pt>
                <c:pt idx="866">
                  <c:v>607.4766699862372</c:v>
                </c:pt>
                <c:pt idx="867">
                  <c:v>606.09522957029</c:v>
                </c:pt>
                <c:pt idx="868">
                  <c:v>604.7177562634736</c:v>
                </c:pt>
                <c:pt idx="869">
                  <c:v>603.3442363052393</c:v>
                </c:pt>
                <c:pt idx="870">
                  <c:v>601.9746559909659</c:v>
                </c:pt>
                <c:pt idx="871">
                  <c:v>600.609001671713</c:v>
                </c:pt>
                <c:pt idx="872">
                  <c:v>599.247259753952</c:v>
                </c:pt>
                <c:pt idx="873">
                  <c:v>597.8894166993203</c:v>
                </c:pt>
                <c:pt idx="874">
                  <c:v>596.5354590243409</c:v>
                </c:pt>
                <c:pt idx="875">
                  <c:v>595.185373300195</c:v>
                </c:pt>
                <c:pt idx="876">
                  <c:v>593.8391461524474</c:v>
                </c:pt>
                <c:pt idx="877">
                  <c:v>592.4967642608057</c:v>
                </c:pt>
                <c:pt idx="878">
                  <c:v>591.1582143588627</c:v>
                </c:pt>
                <c:pt idx="879">
                  <c:v>589.823483233852</c:v>
                </c:pt>
                <c:pt idx="880">
                  <c:v>588.492557726392</c:v>
                </c:pt>
                <c:pt idx="881">
                  <c:v>587.1654247302454</c:v>
                </c:pt>
                <c:pt idx="882">
                  <c:v>585.8420711920708</c:v>
                </c:pt>
                <c:pt idx="883">
                  <c:v>584.5224841111772</c:v>
                </c:pt>
                <c:pt idx="884">
                  <c:v>583.2066505392775</c:v>
                </c:pt>
                <c:pt idx="885">
                  <c:v>581.8945575802552</c:v>
                </c:pt>
                <c:pt idx="886">
                  <c:v>580.5861923899137</c:v>
                </c:pt>
                <c:pt idx="887">
                  <c:v>579.2815421757457</c:v>
                </c:pt>
                <c:pt idx="888">
                  <c:v>577.9805941966836</c:v>
                </c:pt>
                <c:pt idx="889">
                  <c:v>576.683335762875</c:v>
                </c:pt>
                <c:pt idx="890">
                  <c:v>575.3897542354334</c:v>
                </c:pt>
                <c:pt idx="891">
                  <c:v>574.099837026221</c:v>
                </c:pt>
                <c:pt idx="892">
                  <c:v>572.8135715975905</c:v>
                </c:pt>
                <c:pt idx="893">
                  <c:v>571.530945462177</c:v>
                </c:pt>
                <c:pt idx="894">
                  <c:v>570.251946182657</c:v>
                </c:pt>
                <c:pt idx="895">
                  <c:v>568.9765613715111</c:v>
                </c:pt>
                <c:pt idx="896">
                  <c:v>567.7047786908085</c:v>
                </c:pt>
                <c:pt idx="897">
                  <c:v>566.4365858519714</c:v>
                </c:pt>
                <c:pt idx="898">
                  <c:v>565.171970615553</c:v>
                </c:pt>
                <c:pt idx="899">
                  <c:v>563.910920791001</c:v>
                </c:pt>
                <c:pt idx="900">
                  <c:v>562.653424236461</c:v>
                </c:pt>
                <c:pt idx="901">
                  <c:v>561.399468858513</c:v>
                </c:pt>
                <c:pt idx="902">
                  <c:v>560.1490426119847</c:v>
                </c:pt>
                <c:pt idx="903">
                  <c:v>558.9021334997182</c:v>
                </c:pt>
                <c:pt idx="904">
                  <c:v>557.6587295723485</c:v>
                </c:pt>
                <c:pt idx="905">
                  <c:v>556.4188189280816</c:v>
                </c:pt>
                <c:pt idx="906">
                  <c:v>555.1823897124931</c:v>
                </c:pt>
                <c:pt idx="907">
                  <c:v>553.9494301182931</c:v>
                </c:pt>
                <c:pt idx="908">
                  <c:v>552.7199283851234</c:v>
                </c:pt>
                <c:pt idx="909">
                  <c:v>551.4938727993435</c:v>
                </c:pt>
                <c:pt idx="910">
                  <c:v>550.2712516938072</c:v>
                </c:pt>
                <c:pt idx="911">
                  <c:v>549.0520534476661</c:v>
                </c:pt>
                <c:pt idx="912">
                  <c:v>547.8362664861467</c:v>
                </c:pt>
                <c:pt idx="913">
                  <c:v>546.623879280348</c:v>
                </c:pt>
                <c:pt idx="914">
                  <c:v>545.4148803470245</c:v>
                </c:pt>
                <c:pt idx="915">
                  <c:v>544.209258248398</c:v>
                </c:pt>
                <c:pt idx="916">
                  <c:v>543.0070015919221</c:v>
                </c:pt>
                <c:pt idx="917">
                  <c:v>541.808099030105</c:v>
                </c:pt>
                <c:pt idx="918">
                  <c:v>540.6125392602915</c:v>
                </c:pt>
                <c:pt idx="919">
                  <c:v>539.4203110244537</c:v>
                </c:pt>
                <c:pt idx="920">
                  <c:v>538.2314031090098</c:v>
                </c:pt>
                <c:pt idx="921">
                  <c:v>537.0458043446014</c:v>
                </c:pt>
                <c:pt idx="922">
                  <c:v>535.8635036059032</c:v>
                </c:pt>
                <c:pt idx="923">
                  <c:v>534.6844898114272</c:v>
                </c:pt>
                <c:pt idx="924">
                  <c:v>533.508751923318</c:v>
                </c:pt>
                <c:pt idx="925">
                  <c:v>532.3362789471555</c:v>
                </c:pt>
                <c:pt idx="926">
                  <c:v>531.1670599317654</c:v>
                </c:pt>
                <c:pt idx="927">
                  <c:v>530.001083969023</c:v>
                </c:pt>
                <c:pt idx="928">
                  <c:v>528.8383401936512</c:v>
                </c:pt>
                <c:pt idx="929">
                  <c:v>527.678817783036</c:v>
                </c:pt>
                <c:pt idx="930">
                  <c:v>526.5225059570354</c:v>
                </c:pt>
                <c:pt idx="931">
                  <c:v>525.3693939777736</c:v>
                </c:pt>
                <c:pt idx="932">
                  <c:v>524.219471149472</c:v>
                </c:pt>
                <c:pt idx="933">
                  <c:v>523.072726818247</c:v>
                </c:pt>
                <c:pt idx="934">
                  <c:v>521.9291503719244</c:v>
                </c:pt>
                <c:pt idx="935">
                  <c:v>520.788731239851</c:v>
                </c:pt>
                <c:pt idx="936">
                  <c:v>519.6514588927095</c:v>
                </c:pt>
                <c:pt idx="937">
                  <c:v>518.5173228423414</c:v>
                </c:pt>
                <c:pt idx="938">
                  <c:v>517.38631264154</c:v>
                </c:pt>
                <c:pt idx="939">
                  <c:v>516.2584178838964</c:v>
                </c:pt>
                <c:pt idx="940">
                  <c:v>515.133628203593</c:v>
                </c:pt>
                <c:pt idx="941">
                  <c:v>514.0119332752344</c:v>
                </c:pt>
                <c:pt idx="942">
                  <c:v>512.8933228136607</c:v>
                </c:pt>
                <c:pt idx="943">
                  <c:v>511.7777865737766</c:v>
                </c:pt>
                <c:pt idx="944">
                  <c:v>510.6653143503592</c:v>
                </c:pt>
                <c:pt idx="945">
                  <c:v>509.5558959778922</c:v>
                </c:pt>
                <c:pt idx="946">
                  <c:v>508.4495213303811</c:v>
                </c:pt>
                <c:pt idx="947">
                  <c:v>507.346180321179</c:v>
                </c:pt>
                <c:pt idx="948">
                  <c:v>506.2458629028137</c:v>
                </c:pt>
                <c:pt idx="949">
                  <c:v>505.1485590668126</c:v>
                </c:pt>
                <c:pt idx="950">
                  <c:v>504.0542588435246</c:v>
                </c:pt>
                <c:pt idx="951">
                  <c:v>502.9629523019545</c:v>
                </c:pt>
                <c:pt idx="952">
                  <c:v>501.8746295495842</c:v>
                </c:pt>
                <c:pt idx="953">
                  <c:v>500.7892807322105</c:v>
                </c:pt>
                <c:pt idx="954">
                  <c:v>499.7068960337628</c:v>
                </c:pt>
                <c:pt idx="955">
                  <c:v>498.627465676145</c:v>
                </c:pt>
                <c:pt idx="956">
                  <c:v>497.5509799190591</c:v>
                </c:pt>
                <c:pt idx="957">
                  <c:v>496.4774290598497</c:v>
                </c:pt>
                <c:pt idx="958">
                  <c:v>495.4068034333185</c:v>
                </c:pt>
                <c:pt idx="959">
                  <c:v>494.3390934115742</c:v>
                </c:pt>
                <c:pt idx="960">
                  <c:v>493.2742894038621</c:v>
                </c:pt>
                <c:pt idx="961">
                  <c:v>492.2123818563998</c:v>
                </c:pt>
                <c:pt idx="962">
                  <c:v>491.1533612522122</c:v>
                </c:pt>
                <c:pt idx="963">
                  <c:v>490.0972181109732</c:v>
                </c:pt>
                <c:pt idx="964">
                  <c:v>489.0439429888353</c:v>
                </c:pt>
                <c:pt idx="965">
                  <c:v>487.9935264782838</c:v>
                </c:pt>
                <c:pt idx="966">
                  <c:v>486.9459592079617</c:v>
                </c:pt>
                <c:pt idx="967">
                  <c:v>485.9012318425124</c:v>
                </c:pt>
                <c:pt idx="968">
                  <c:v>484.8593350824343</c:v>
                </c:pt>
                <c:pt idx="969">
                  <c:v>483.8202596639052</c:v>
                </c:pt>
                <c:pt idx="970">
                  <c:v>482.7839963586366</c:v>
                </c:pt>
                <c:pt idx="971">
                  <c:v>481.7505359737152</c:v>
                </c:pt>
                <c:pt idx="972">
                  <c:v>480.7198693514428</c:v>
                </c:pt>
                <c:pt idx="973">
                  <c:v>479.6919873691922</c:v>
                </c:pt>
                <c:pt idx="974">
                  <c:v>478.6668809392394</c:v>
                </c:pt>
                <c:pt idx="975">
                  <c:v>477.6445410086203</c:v>
                </c:pt>
                <c:pt idx="976">
                  <c:v>476.6249585589752</c:v>
                </c:pt>
                <c:pt idx="977">
                  <c:v>475.6081246064007</c:v>
                </c:pt>
                <c:pt idx="978">
                  <c:v>474.5940302012869</c:v>
                </c:pt>
                <c:pt idx="979">
                  <c:v>473.5826664281867</c:v>
                </c:pt>
                <c:pt idx="980">
                  <c:v>472.5740244056458</c:v>
                </c:pt>
                <c:pt idx="981">
                  <c:v>471.5680952860719</c:v>
                </c:pt>
                <c:pt idx="982">
                  <c:v>470.5648702555707</c:v>
                </c:pt>
                <c:pt idx="983">
                  <c:v>469.5643405338137</c:v>
                </c:pt>
                <c:pt idx="984">
                  <c:v>468.5664973738768</c:v>
                </c:pt>
                <c:pt idx="985">
                  <c:v>467.5713320621116</c:v>
                </c:pt>
                <c:pt idx="986">
                  <c:v>466.5788359179843</c:v>
                </c:pt>
                <c:pt idx="987">
                  <c:v>465.5890002939407</c:v>
                </c:pt>
                <c:pt idx="988">
                  <c:v>464.6018165752573</c:v>
                </c:pt>
                <c:pt idx="989">
                  <c:v>463.6172761799033</c:v>
                </c:pt>
                <c:pt idx="990">
                  <c:v>462.6353705583936</c:v>
                </c:pt>
                <c:pt idx="991">
                  <c:v>461.6560911936575</c:v>
                </c:pt>
                <c:pt idx="992">
                  <c:v>460.6794296008771</c:v>
                </c:pt>
                <c:pt idx="993">
                  <c:v>459.7053773273697</c:v>
                </c:pt>
                <c:pt idx="994">
                  <c:v>458.7339259524369</c:v>
                </c:pt>
                <c:pt idx="995">
                  <c:v>457.7650670872292</c:v>
                </c:pt>
                <c:pt idx="996">
                  <c:v>456.7987923745989</c:v>
                </c:pt>
                <c:pt idx="997">
                  <c:v>455.8350934889812</c:v>
                </c:pt>
                <c:pt idx="998">
                  <c:v>454.8739621362377</c:v>
                </c:pt>
                <c:pt idx="999">
                  <c:v>453.9153900535304</c:v>
                </c:pt>
                <c:pt idx="1000">
                  <c:v>452.9593690091895</c:v>
                </c:pt>
                <c:pt idx="1001">
                  <c:v>452.0058908025694</c:v>
                </c:pt>
                <c:pt idx="1002">
                  <c:v>451.0549472639215</c:v>
                </c:pt>
                <c:pt idx="1003">
                  <c:v>450.1065302542572</c:v>
                </c:pt>
                <c:pt idx="1004">
                  <c:v>449.160631665219</c:v>
                </c:pt>
                <c:pt idx="1005">
                  <c:v>448.2172434189407</c:v>
                </c:pt>
                <c:pt idx="1006">
                  <c:v>447.2763574679261</c:v>
                </c:pt>
                <c:pt idx="1007">
                  <c:v>446.3379657949115</c:v>
                </c:pt>
                <c:pt idx="1008">
                  <c:v>445.4020604127347</c:v>
                </c:pt>
                <c:pt idx="1009">
                  <c:v>444.4686333642113</c:v>
                </c:pt>
                <c:pt idx="1010">
                  <c:v>443.537676721998</c:v>
                </c:pt>
                <c:pt idx="1011">
                  <c:v>442.60918258847</c:v>
                </c:pt>
                <c:pt idx="1012">
                  <c:v>441.6831430955942</c:v>
                </c:pt>
                <c:pt idx="1013">
                  <c:v>440.7595504047962</c:v>
                </c:pt>
                <c:pt idx="1014">
                  <c:v>439.838396706838</c:v>
                </c:pt>
                <c:pt idx="1015">
                  <c:v>438.919674221691</c:v>
                </c:pt>
                <c:pt idx="1016">
                  <c:v>438.0033751984124</c:v>
                </c:pt>
                <c:pt idx="1017">
                  <c:v>437.0894919150167</c:v>
                </c:pt>
                <c:pt idx="1018">
                  <c:v>436.1780166783554</c:v>
                </c:pt>
                <c:pt idx="1019">
                  <c:v>435.2689418239942</c:v>
                </c:pt>
                <c:pt idx="1020">
                  <c:v>434.3622597160821</c:v>
                </c:pt>
                <c:pt idx="1021">
                  <c:v>433.4579627472413</c:v>
                </c:pt>
                <c:pt idx="1022">
                  <c:v>432.5560433384393</c:v>
                </c:pt>
                <c:pt idx="1023">
                  <c:v>431.656493938862</c:v>
                </c:pt>
                <c:pt idx="1024">
                  <c:v>430.7593070258043</c:v>
                </c:pt>
                <c:pt idx="1025">
                  <c:v>429.8644751045423</c:v>
                </c:pt>
                <c:pt idx="1026">
                  <c:v>428.9719907082183</c:v>
                </c:pt>
                <c:pt idx="1027">
                  <c:v>428.08184639772</c:v>
                </c:pt>
                <c:pt idx="1028">
                  <c:v>427.1940347615596</c:v>
                </c:pt>
                <c:pt idx="1029">
                  <c:v>426.3085484157648</c:v>
                </c:pt>
                <c:pt idx="1030">
                  <c:v>425.4253800037515</c:v>
                </c:pt>
                <c:pt idx="1031">
                  <c:v>424.5445221962142</c:v>
                </c:pt>
                <c:pt idx="1032">
                  <c:v>423.6659676910044</c:v>
                </c:pt>
                <c:pt idx="1033">
                  <c:v>422.7897092130227</c:v>
                </c:pt>
                <c:pt idx="1034">
                  <c:v>421.9157395140969</c:v>
                </c:pt>
                <c:pt idx="1035">
                  <c:v>421.0440513728732</c:v>
                </c:pt>
                <c:pt idx="1036">
                  <c:v>420.1746375946954</c:v>
                </c:pt>
                <c:pt idx="1037">
                  <c:v>419.307491011501</c:v>
                </c:pt>
                <c:pt idx="1038">
                  <c:v>418.4426044817003</c:v>
                </c:pt>
                <c:pt idx="1039">
                  <c:v>417.5799708900702</c:v>
                </c:pt>
                <c:pt idx="1040">
                  <c:v>416.7195831476358</c:v>
                </c:pt>
                <c:pt idx="1041">
                  <c:v>415.8614341915681</c:v>
                </c:pt>
                <c:pt idx="1042">
                  <c:v>415.0055169850669</c:v>
                </c:pt>
                <c:pt idx="1043">
                  <c:v>414.1518245172524</c:v>
                </c:pt>
                <c:pt idx="1044">
                  <c:v>413.3003498030575</c:v>
                </c:pt>
                <c:pt idx="1045">
                  <c:v>412.4510858831171</c:v>
                </c:pt>
                <c:pt idx="1046">
                  <c:v>411.6040258236603</c:v>
                </c:pt>
                <c:pt idx="1047">
                  <c:v>410.7591627163981</c:v>
                </c:pt>
                <c:pt idx="1048">
                  <c:v>409.9164896784266</c:v>
                </c:pt>
                <c:pt idx="1049">
                  <c:v>409.0759998521091</c:v>
                </c:pt>
                <c:pt idx="1050">
                  <c:v>408.2376864049789</c:v>
                </c:pt>
              </c:numCache>
            </c:numRef>
          </c:xVal>
          <c:yVal>
            <c:numRef>
              <c:f>Roze!$J$2:$J$1052</c:f>
              <c:numCache>
                <c:formatCode>_-* #,##0.0\ _F_t_-;\-* #,##0.0\ _F_t_-;_-* "-"??\ _F_t_-;_-@_-</c:formatCode>
                <c:ptCount val="1051"/>
                <c:pt idx="0">
                  <c:v>1.37525283245317E6</c:v>
                </c:pt>
                <c:pt idx="1">
                  <c:v>1.37852690551881E6</c:v>
                </c:pt>
                <c:pt idx="2">
                  <c:v>1.38174744000802E6</c:v>
                </c:pt>
                <c:pt idx="3">
                  <c:v>1.38491498192858E6</c:v>
                </c:pt>
                <c:pt idx="4">
                  <c:v>1.38803007172778E6</c:v>
                </c:pt>
                <c:pt idx="5">
                  <c:v>1.39109324435301E6</c:v>
                </c:pt>
                <c:pt idx="6">
                  <c:v>1.39410502931161E6</c:v>
                </c:pt>
                <c:pt idx="7">
                  <c:v>1.39706595073008E6</c:v>
                </c:pt>
                <c:pt idx="8">
                  <c:v>1.39997652741256E6</c:v>
                </c:pt>
                <c:pt idx="9">
                  <c:v>1.40283727289859E6</c:v>
                </c:pt>
                <c:pt idx="10">
                  <c:v>1.40564869552024E6</c:v>
                </c:pt>
                <c:pt idx="11">
                  <c:v>1.40841129845852E6</c:v>
                </c:pt>
                <c:pt idx="12">
                  <c:v>1.41112557979916E6</c:v>
                </c:pt>
                <c:pt idx="13">
                  <c:v>1.41379203258772E6</c:v>
                </c:pt>
                <c:pt idx="14">
                  <c:v>1.41641114488408E6</c:v>
                </c:pt>
                <c:pt idx="15">
                  <c:v>1.4189833998162E6</c:v>
                </c:pt>
                <c:pt idx="16">
                  <c:v>1.4215092756334E6</c:v>
                </c:pt>
                <c:pt idx="17">
                  <c:v>1.42398924575885E6</c:v>
                </c:pt>
                <c:pt idx="18">
                  <c:v>1.4264237788416E6</c:v>
                </c:pt>
                <c:pt idx="19">
                  <c:v>1.42881333880786E6</c:v>
                </c:pt>
                <c:pt idx="20">
                  <c:v>1.43115838491184E6</c:v>
                </c:pt>
                <c:pt idx="21">
                  <c:v>1.43345937178581E6</c:v>
                </c:pt>
                <c:pt idx="22">
                  <c:v>1.43571674948973E6</c:v>
                </c:pt>
                <c:pt idx="23">
                  <c:v>1.43793096356027E6</c:v>
                </c:pt>
                <c:pt idx="24">
                  <c:v>1.44010245505917E6</c:v>
                </c:pt>
                <c:pt idx="25">
                  <c:v>1.44223166062117E6</c:v>
                </c:pt>
                <c:pt idx="26">
                  <c:v>1.44431901250129E6</c:v>
                </c:pt>
                <c:pt idx="27">
                  <c:v>1.4463649386216E6</c:v>
                </c:pt>
                <c:pt idx="28">
                  <c:v>1.44836986261743E6</c:v>
                </c:pt>
                <c:pt idx="29">
                  <c:v>1.45033420388308E6</c:v>
                </c:pt>
                <c:pt idx="30">
                  <c:v>1.45225837761696E6</c:v>
                </c:pt>
                <c:pt idx="31">
                  <c:v>1.45414279486624E6</c:v>
                </c:pt>
                <c:pt idx="32">
                  <c:v>1.45598786257096E6</c:v>
                </c:pt>
                <c:pt idx="33">
                  <c:v>1.45779398360765E6</c:v>
                </c:pt>
                <c:pt idx="34">
                  <c:v>1.45956155683246E6</c:v>
                </c:pt>
                <c:pt idx="35">
                  <c:v>1.46129097712376E6</c:v>
                </c:pt>
                <c:pt idx="36">
                  <c:v>1.46298263542426E6</c:v>
                </c:pt>
                <c:pt idx="37">
                  <c:v>1.46463691878268E6</c:v>
                </c:pt>
                <c:pt idx="38">
                  <c:v>1.4662542103949E6</c:v>
                </c:pt>
                <c:pt idx="39">
                  <c:v>1.46783488964465E6</c:v>
                </c:pt>
                <c:pt idx="40">
                  <c:v>1.46937933214379E6</c:v>
                </c:pt>
                <c:pt idx="41">
                  <c:v>1.470887909772E6</c:v>
                </c:pt>
                <c:pt idx="42">
                  <c:v>1.47236099071617E6</c:v>
                </c:pt>
                <c:pt idx="43">
                  <c:v>1.47379893950922E6</c:v>
                </c:pt>
                <c:pt idx="44">
                  <c:v>1.47520211706858E6</c:v>
                </c:pt>
                <c:pt idx="45">
                  <c:v>1.47657088073411E6</c:v>
                </c:pt>
                <c:pt idx="46">
                  <c:v>1.47790558430573E6</c:v>
                </c:pt>
                <c:pt idx="47">
                  <c:v>1.47920657808047E6</c:v>
                </c:pt>
                <c:pt idx="48">
                  <c:v>1.48047420888927E6</c:v>
                </c:pt>
                <c:pt idx="49">
                  <c:v>1.4817088201332E6</c:v>
                </c:pt>
                <c:pt idx="50">
                  <c:v>1.48291075181937E6</c:v>
                </c:pt>
                <c:pt idx="51">
                  <c:v>1.48408034059643E6</c:v>
                </c:pt>
                <c:pt idx="52">
                  <c:v>1.48521791978959E6</c:v>
                </c:pt>
                <c:pt idx="53">
                  <c:v>1.48632381943535E6</c:v>
                </c:pt>
                <c:pt idx="54">
                  <c:v>1.48739836631577E6</c:v>
                </c:pt>
                <c:pt idx="55">
                  <c:v>1.48844188399236E6</c:v>
                </c:pt>
                <c:pt idx="56">
                  <c:v>1.48945469283962E6</c:v>
                </c:pt>
                <c:pt idx="57">
                  <c:v>1.49043711007817E6</c:v>
                </c:pt>
                <c:pt idx="58">
                  <c:v>1.49138944980753E6</c:v>
                </c:pt>
                <c:pt idx="59">
                  <c:v>1.49231202303853E6</c:v>
                </c:pt>
                <c:pt idx="60">
                  <c:v>1.49320513772529E6</c:v>
                </c:pt>
                <c:pt idx="61">
                  <c:v>1.49406909879701E6</c:v>
                </c:pt>
                <c:pt idx="62">
                  <c:v>1.4949042081892E6</c:v>
                </c:pt>
                <c:pt idx="63">
                  <c:v>1.4957107648747E6</c:v>
                </c:pt>
                <c:pt idx="64">
                  <c:v>1.49648906489428E6</c:v>
                </c:pt>
                <c:pt idx="65">
                  <c:v>1.49723940138699E6</c:v>
                </c:pt>
                <c:pt idx="66">
                  <c:v>1.49796206462003E6</c:v>
                </c:pt>
                <c:pt idx="67">
                  <c:v>1.49865734201842E6</c:v>
                </c:pt>
                <c:pt idx="68">
                  <c:v>1.49932551819426E6</c:v>
                </c:pt>
                <c:pt idx="69">
                  <c:v>1.49996687497572E6</c:v>
                </c:pt>
                <c:pt idx="70">
                  <c:v>1.50058169143566E6</c:v>
                </c:pt>
                <c:pt idx="71">
                  <c:v>1.50117024391994E6</c:v>
                </c:pt>
                <c:pt idx="72">
                  <c:v>1.50173280607545E6</c:v>
                </c:pt>
                <c:pt idx="73">
                  <c:v>1.50226964887781E6</c:v>
                </c:pt>
                <c:pt idx="74">
                  <c:v>1.50278104065872E6</c:v>
                </c:pt>
                <c:pt idx="75">
                  <c:v>1.50326724713311E6</c:v>
                </c:pt>
                <c:pt idx="76">
                  <c:v>1.50372853142589E6</c:v>
                </c:pt>
                <c:pt idx="77">
                  <c:v>1.50416515409846E6</c:v>
                </c:pt>
                <c:pt idx="78">
                  <c:v>1.50457737317487E6</c:v>
                </c:pt>
                <c:pt idx="79">
                  <c:v>1.5049654441678E6</c:v>
                </c:pt>
                <c:pt idx="80">
                  <c:v>1.50532962010414E6</c:v>
                </c:pt>
                <c:pt idx="81">
                  <c:v>1.50567015155034E6</c:v>
                </c:pt>
                <c:pt idx="82">
                  <c:v>1.50598728663752E6</c:v>
                </c:pt>
                <c:pt idx="83">
                  <c:v>1.5062812710862E6</c:v>
                </c:pt>
                <c:pt idx="84">
                  <c:v>1.50655234823084E6</c:v>
                </c:pt>
                <c:pt idx="85">
                  <c:v>1.50680075904414E6</c:v>
                </c:pt>
                <c:pt idx="86">
                  <c:v>1.50702674216096E6</c:v>
                </c:pt>
                <c:pt idx="87">
                  <c:v>1.50723053390209E6</c:v>
                </c:pt>
                <c:pt idx="88">
                  <c:v>1.50741236829768E6</c:v>
                </c:pt>
                <c:pt idx="89">
                  <c:v>1.5075724771105E6</c:v>
                </c:pt>
                <c:pt idx="90">
                  <c:v>1.50771108985883E6</c:v>
                </c:pt>
                <c:pt idx="91">
                  <c:v>1.50782843383922E6</c:v>
                </c:pt>
                <c:pt idx="92">
                  <c:v>1.50792473414892E6</c:v>
                </c:pt>
                <c:pt idx="93">
                  <c:v>1.50800021370813E6</c:v>
                </c:pt>
                <c:pt idx="94">
                  <c:v>1.50805509328191E6</c:v>
                </c:pt>
                <c:pt idx="95">
                  <c:v>1.50808959150198E6</c:v>
                </c:pt>
                <c:pt idx="96">
                  <c:v>1.50810392488818E6</c:v>
                </c:pt>
                <c:pt idx="97">
                  <c:v>1.50809830786977E6</c:v>
                </c:pt>
                <c:pt idx="98">
                  <c:v>1.50807295280642E6</c:v>
                </c:pt>
                <c:pt idx="99">
                  <c:v>1.50802807000906E6</c:v>
                </c:pt>
                <c:pt idx="100">
                  <c:v>1.50796386776044E6</c:v>
                </c:pt>
                <c:pt idx="101">
                  <c:v>1.50788055233551E6</c:v>
                </c:pt>
                <c:pt idx="102">
                  <c:v>1.50777832802154E6</c:v>
                </c:pt>
                <c:pt idx="103">
                  <c:v>1.50765739713808E6</c:v>
                </c:pt>
                <c:pt idx="104">
                  <c:v>1.50751796005662E6</c:v>
                </c:pt>
                <c:pt idx="105">
                  <c:v>1.50736021522013E6</c:v>
                </c:pt>
                <c:pt idx="106">
                  <c:v>1.50718435916234E6</c:v>
                </c:pt>
                <c:pt idx="107">
                  <c:v>1.50699058652684E6</c:v>
                </c:pt>
                <c:pt idx="108">
                  <c:v>1.50677909008587E6</c:v>
                </c:pt>
                <c:pt idx="109">
                  <c:v>1.50655006075913E6</c:v>
                </c:pt>
                <c:pt idx="110">
                  <c:v>1.50630368763215E6</c:v>
                </c:pt>
                <c:pt idx="111">
                  <c:v>1.50604015797461E6</c:v>
                </c:pt>
                <c:pt idx="112">
                  <c:v>1.50575965725841E6</c:v>
                </c:pt>
                <c:pt idx="113">
                  <c:v>1.50546236917557E6</c:v>
                </c:pt>
                <c:pt idx="114">
                  <c:v>1.50514847565593E6</c:v>
                </c:pt>
                <c:pt idx="115">
                  <c:v>1.50481815688463E6</c:v>
                </c:pt>
                <c:pt idx="116">
                  <c:v>1.50447159131947E6</c:v>
                </c:pt>
                <c:pt idx="117">
                  <c:v>1.50410895570802E6</c:v>
                </c:pt>
                <c:pt idx="118">
                  <c:v>1.5037304251046E6</c:v>
                </c:pt>
                <c:pt idx="119">
                  <c:v>1.50333617288704E6</c:v>
                </c:pt>
                <c:pt idx="120">
                  <c:v>1.50292637077326E6</c:v>
                </c:pt>
                <c:pt idx="121">
                  <c:v>1.50250118883776E6</c:v>
                </c:pt>
                <c:pt idx="122">
                  <c:v>1.50206079552779E6</c:v>
                </c:pt>
                <c:pt idx="123">
                  <c:v>1.50160535767945E6</c:v>
                </c:pt>
                <c:pt idx="124">
                  <c:v>1.50113504053361E6</c:v>
                </c:pt>
                <c:pt idx="125">
                  <c:v>1.50065000775166E6</c:v>
                </c:pt>
                <c:pt idx="126">
                  <c:v>1.50015042143104E6</c:v>
                </c:pt>
                <c:pt idx="127">
                  <c:v>1.49963644212068E6</c:v>
                </c:pt>
                <c:pt idx="128">
                  <c:v>1.49910822883622E6</c:v>
                </c:pt>
                <c:pt idx="129">
                  <c:v>1.49856593907512E6</c:v>
                </c:pt>
                <c:pt idx="130">
                  <c:v>1.49800972883157E6</c:v>
                </c:pt>
                <c:pt idx="131">
                  <c:v>1.49743975261126E6</c:v>
                </c:pt>
                <c:pt idx="132">
                  <c:v>1.496856163446E6</c:v>
                </c:pt>
                <c:pt idx="133">
                  <c:v>1.49625911290817E6</c:v>
                </c:pt>
                <c:pt idx="134">
                  <c:v>1.49564875112501E6</c:v>
                </c:pt>
                <c:pt idx="135">
                  <c:v>1.49502522679285E6</c:v>
                </c:pt>
                <c:pt idx="136">
                  <c:v>1.49438868719103E6</c:v>
                </c:pt>
                <c:pt idx="137">
                  <c:v>1.49373927819582E6</c:v>
                </c:pt>
                <c:pt idx="138">
                  <c:v>1.4930771442941E6</c:v>
                </c:pt>
                <c:pt idx="139">
                  <c:v>1.492402428597E6</c:v>
                </c:pt>
                <c:pt idx="140">
                  <c:v>1.49171527285324E6</c:v>
                </c:pt>
                <c:pt idx="141">
                  <c:v>1.49101581746252E6</c:v>
                </c:pt>
                <c:pt idx="142">
                  <c:v>1.4903042014886E6</c:v>
                </c:pt>
                <c:pt idx="143">
                  <c:v>1.48958056267234E6</c:v>
                </c:pt>
                <c:pt idx="144">
                  <c:v>1.48884503744463E6</c:v>
                </c:pt>
                <c:pt idx="145">
                  <c:v>1.48809776093905E6</c:v>
                </c:pt>
                <c:pt idx="146">
                  <c:v>1.48733886700455E6</c:v>
                </c:pt>
                <c:pt idx="147">
                  <c:v>1.48656848821793E6</c:v>
                </c:pt>
                <c:pt idx="148">
                  <c:v>1.48578675589619E6</c:v>
                </c:pt>
                <c:pt idx="149">
                  <c:v>1.48499380010871E6</c:v>
                </c:pt>
                <c:pt idx="150">
                  <c:v>1.48418974968944E6</c:v>
                </c:pt>
                <c:pt idx="151">
                  <c:v>1.48337473224882E6</c:v>
                </c:pt>
                <c:pt idx="152">
                  <c:v>1.48254887418563E6</c:v>
                </c:pt>
                <c:pt idx="153">
                  <c:v>1.48171230069873E6</c:v>
                </c:pt>
                <c:pt idx="154">
                  <c:v>1.48086513579867E6</c:v>
                </c:pt>
                <c:pt idx="155">
                  <c:v>1.48000750231922E6</c:v>
                </c:pt>
                <c:pt idx="156">
                  <c:v>1.47913952192864E6</c:v>
                </c:pt>
                <c:pt idx="157">
                  <c:v>1.47826131514104E6</c:v>
                </c:pt>
                <c:pt idx="158">
                  <c:v>1.47737300132745E6</c:v>
                </c:pt>
                <c:pt idx="159">
                  <c:v>1.47647469872688E6</c:v>
                </c:pt>
                <c:pt idx="160">
                  <c:v>1.47556652445721E6</c:v>
                </c:pt>
                <c:pt idx="161">
                  <c:v>1.47464859452599E6</c:v>
                </c:pt>
                <c:pt idx="162">
                  <c:v>1.47372102384116E6</c:v>
                </c:pt>
                <c:pt idx="163">
                  <c:v>1.47278392622158E6</c:v>
                </c:pt>
                <c:pt idx="164">
                  <c:v>1.47183741440752E6</c:v>
                </c:pt>
                <c:pt idx="165">
                  <c:v>1.47088160007104E6</c:v>
                </c:pt>
                <c:pt idx="166">
                  <c:v>1.46991659382622E6</c:v>
                </c:pt>
                <c:pt idx="167">
                  <c:v>1.46894250523933E6</c:v>
                </c:pt>
                <c:pt idx="168">
                  <c:v>1.46795944283889E6</c:v>
                </c:pt>
                <c:pt idx="169">
                  <c:v>1.46696751412556E6</c:v>
                </c:pt>
                <c:pt idx="170">
                  <c:v>1.46596682558207E6</c:v>
                </c:pt>
                <c:pt idx="171">
                  <c:v>1.4649574826829E6</c:v>
                </c:pt>
                <c:pt idx="172">
                  <c:v>1.46393958990396E6</c:v>
                </c:pt>
                <c:pt idx="173">
                  <c:v>1.46291325073209E6</c:v>
                </c:pt>
                <c:pt idx="174">
                  <c:v>1.46187856767458E6</c:v>
                </c:pt>
                <c:pt idx="175">
                  <c:v>1.46083564226848E6</c:v>
                </c:pt>
                <c:pt idx="176">
                  <c:v>1.45978457508986E6</c:v>
                </c:pt>
                <c:pt idx="177">
                  <c:v>1.45872546576301E6</c:v>
                </c:pt>
                <c:pt idx="178">
                  <c:v>1.45765841296946E6</c:v>
                </c:pt>
                <c:pt idx="179">
                  <c:v>1.45658351445701E6</c:v>
                </c:pt>
                <c:pt idx="180">
                  <c:v>1.45550086704862E6</c:v>
                </c:pt>
                <c:pt idx="181">
                  <c:v>1.45441056665115E6</c:v>
                </c:pt>
                <c:pt idx="182">
                  <c:v>1.45331270826415E6</c:v>
                </c:pt>
                <c:pt idx="183">
                  <c:v>1.45220738598844E6</c:v>
                </c:pt>
                <c:pt idx="184">
                  <c:v>1.45109469303467E6</c:v>
                </c:pt>
                <c:pt idx="185">
                  <c:v>1.44997472173172E6</c:v>
                </c:pt>
                <c:pt idx="186">
                  <c:v>1.44884756353517E6</c:v>
                </c:pt>
                <c:pt idx="187">
                  <c:v>1.44771330903548E6</c:v>
                </c:pt>
                <c:pt idx="188">
                  <c:v>1.44657204796622E6</c:v>
                </c:pt>
                <c:pt idx="189">
                  <c:v>1.44542386921221E6</c:v>
                </c:pt>
                <c:pt idx="190">
                  <c:v>1.44426886081756E6</c:v>
                </c:pt>
                <c:pt idx="191">
                  <c:v>1.44310710999357E6</c:v>
                </c:pt>
                <c:pt idx="192">
                  <c:v>1.44193870312668E6</c:v>
                </c:pt>
                <c:pt idx="193">
                  <c:v>1.44076372578618E6</c:v>
                </c:pt>
                <c:pt idx="194">
                  <c:v>1.43958226273201E6</c:v>
                </c:pt>
                <c:pt idx="195">
                  <c:v>1.43839439792238E6</c:v>
                </c:pt>
                <c:pt idx="196">
                  <c:v>1.4372002145213E6</c:v>
                </c:pt>
                <c:pt idx="197">
                  <c:v>1.43599979490609E6</c:v>
                </c:pt>
                <c:pt idx="198">
                  <c:v>1.43479322067481E6</c:v>
                </c:pt>
                <c:pt idx="199">
                  <c:v>1.43358057265358E6</c:v>
                </c:pt>
                <c:pt idx="200">
                  <c:v>1.43236193090388E6</c:v>
                </c:pt>
                <c:pt idx="201">
                  <c:v>1.4311373747297E6</c:v>
                </c:pt>
                <c:pt idx="202">
                  <c:v>1.42990698268469E6</c:v>
                </c:pt>
                <c:pt idx="203">
                  <c:v>1.42867083257922E6</c:v>
                </c:pt>
                <c:pt idx="204">
                  <c:v>1.42742900148735E6</c:v>
                </c:pt>
                <c:pt idx="205">
                  <c:v>1.42618156575374E6</c:v>
                </c:pt>
                <c:pt idx="206">
                  <c:v>1.42492860100053E6</c:v>
                </c:pt>
                <c:pt idx="207">
                  <c:v>1.42367018213406E6</c:v>
                </c:pt>
                <c:pt idx="208">
                  <c:v>1.42240638335163E6</c:v>
                </c:pt>
                <c:pt idx="209">
                  <c:v>1.42113727814812E6</c:v>
                </c:pt>
                <c:pt idx="210">
                  <c:v>1.4198629393226E6</c:v>
                </c:pt>
                <c:pt idx="211">
                  <c:v>1.41858343898477E6</c:v>
                </c:pt>
                <c:pt idx="212">
                  <c:v>1.41729884856151E6</c:v>
                </c:pt>
                <c:pt idx="213">
                  <c:v>1.41600923880319E6</c:v>
                </c:pt>
                <c:pt idx="214">
                  <c:v>1.41471467979002E6</c:v>
                </c:pt>
                <c:pt idx="215">
                  <c:v>1.41341524093831E6</c:v>
                </c:pt>
                <c:pt idx="216">
                  <c:v>1.41211099100668E6</c:v>
                </c:pt>
                <c:pt idx="217">
                  <c:v>1.41080199810217E6</c:v>
                </c:pt>
                <c:pt idx="218">
                  <c:v>1.40948832968632E6</c:v>
                </c:pt>
                <c:pt idx="219">
                  <c:v>1.40817005258125E6</c:v>
                </c:pt>
                <c:pt idx="220">
                  <c:v>1.40684723297552E6</c:v>
                </c:pt>
                <c:pt idx="221">
                  <c:v>1.40551993643012E6</c:v>
                </c:pt>
                <c:pt idx="222">
                  <c:v>1.40418822788424E6</c:v>
                </c:pt>
                <c:pt idx="223">
                  <c:v>1.40285217166112E6</c:v>
                </c:pt>
                <c:pt idx="224">
                  <c:v>1.40151183147374E6</c:v>
                </c:pt>
                <c:pt idx="225">
                  <c:v>1.40016727043049E6</c:v>
                </c:pt>
                <c:pt idx="226">
                  <c:v>1.39881855104082E6</c:v>
                </c:pt>
                <c:pt idx="227">
                  <c:v>1.39746573522076E6</c:v>
                </c:pt>
                <c:pt idx="228">
                  <c:v>1.39610888429848E6</c:v>
                </c:pt>
                <c:pt idx="229">
                  <c:v>1.39474805901968E6</c:v>
                </c:pt>
                <c:pt idx="230">
                  <c:v>1.39338331955305E6</c:v>
                </c:pt>
                <c:pt idx="231">
                  <c:v>1.39201472549561E6</c:v>
                </c:pt>
                <c:pt idx="232">
                  <c:v>1.39064233587796E6</c:v>
                </c:pt>
                <c:pt idx="233">
                  <c:v>1.38926620916958E6</c:v>
                </c:pt>
                <c:pt idx="234">
                  <c:v>1.387886403284E6</c:v>
                </c:pt>
                <c:pt idx="235">
                  <c:v>1.38650297558394E6</c:v>
                </c:pt>
                <c:pt idx="236">
                  <c:v>1.38511598288641E6</c:v>
                </c:pt>
                <c:pt idx="237">
                  <c:v>1.38372548146778E6</c:v>
                </c:pt>
                <c:pt idx="238">
                  <c:v>1.38233152706874E6</c:v>
                </c:pt>
                <c:pt idx="239">
                  <c:v>1.38093417489923E6</c:v>
                </c:pt>
                <c:pt idx="240">
                  <c:v>1.37953347964341E6</c:v>
                </c:pt>
                <c:pt idx="241">
                  <c:v>1.37812949546446E6</c:v>
                </c:pt>
                <c:pt idx="242">
                  <c:v>1.37672227600938E6</c:v>
                </c:pt>
                <c:pt idx="243">
                  <c:v>1.3753118744138E6</c:v>
                </c:pt>
                <c:pt idx="244">
                  <c:v>1.3738983433066E6</c:v>
                </c:pt>
                <c:pt idx="245">
                  <c:v>1.3724817348147E6</c:v>
                </c:pt>
                <c:pt idx="246">
                  <c:v>1.37106210056758E6</c:v>
                </c:pt>
                <c:pt idx="247">
                  <c:v>1.36963949170193E6</c:v>
                </c:pt>
                <c:pt idx="248">
                  <c:v>1.3682139588661E6</c:v>
                </c:pt>
                <c:pt idx="249">
                  <c:v>1.3667855522247E6</c:v>
                </c:pt>
                <c:pt idx="250">
                  <c:v>1.36535432146293E6</c:v>
                </c:pt>
                <c:pt idx="251">
                  <c:v>1.36392031579109E6</c:v>
                </c:pt>
                <c:pt idx="252">
                  <c:v>1.36248358394888E6</c:v>
                </c:pt>
                <c:pt idx="253">
                  <c:v>1.36104417420972E6</c:v>
                </c:pt>
                <c:pt idx="254">
                  <c:v>1.35960213438507E6</c:v>
                </c:pt>
                <c:pt idx="255">
                  <c:v>1.35815751182862E6</c:v>
                </c:pt>
                <c:pt idx="256">
                  <c:v>1.35671035344052E6</c:v>
                </c:pt>
                <c:pt idx="257">
                  <c:v>1.35526070567153E6</c:v>
                </c:pt>
                <c:pt idx="258">
                  <c:v>1.35380861452713E6</c:v>
                </c:pt>
                <c:pt idx="259">
                  <c:v>1.35235412557161E6</c:v>
                </c:pt>
                <c:pt idx="260">
                  <c:v>1.35089728393207E6</c:v>
                </c:pt>
                <c:pt idx="261">
                  <c:v>1.34943813430251E6</c:v>
                </c:pt>
                <c:pt idx="262">
                  <c:v>1.34797672094768E6</c:v>
                </c:pt>
                <c:pt idx="263">
                  <c:v>1.34651308770708E6</c:v>
                </c:pt>
                <c:pt idx="264">
                  <c:v>1.34504727799885E6</c:v>
                </c:pt>
                <c:pt idx="265">
                  <c:v>1.34357933482356E6</c:v>
                </c:pt>
                <c:pt idx="266">
                  <c:v>1.34210930076807E6</c:v>
                </c:pt>
                <c:pt idx="267">
                  <c:v>1.34063721800932E6</c:v>
                </c:pt>
                <c:pt idx="268">
                  <c:v>1.33916312831802E6</c:v>
                </c:pt>
                <c:pt idx="269">
                  <c:v>1.33768707306242E6</c:v>
                </c:pt>
                <c:pt idx="270">
                  <c:v>1.33620909321191E6</c:v>
                </c:pt>
                <c:pt idx="271">
                  <c:v>1.33472922934072E6</c:v>
                </c:pt>
                <c:pt idx="272">
                  <c:v>1.33324752163148E6</c:v>
                </c:pt>
                <c:pt idx="273">
                  <c:v>1.33176400987881E6</c:v>
                </c:pt>
                <c:pt idx="274">
                  <c:v>1.33027873349283E6</c:v>
                </c:pt>
                <c:pt idx="275">
                  <c:v>1.32879173150271E6</c:v>
                </c:pt>
                <c:pt idx="276">
                  <c:v>1.32730304256006E6</c:v>
                </c:pt>
                <c:pt idx="277">
                  <c:v>1.32581270494245E6</c:v>
                </c:pt>
                <c:pt idx="278">
                  <c:v>1.32432075655673E6</c:v>
                </c:pt>
                <c:pt idx="279">
                  <c:v>1.32282723494246E6</c:v>
                </c:pt>
                <c:pt idx="280">
                  <c:v>1.32133217727525E6</c:v>
                </c:pt>
                <c:pt idx="281">
                  <c:v>1.31983562036999E6</c:v>
                </c:pt>
                <c:pt idx="282">
                  <c:v>1.31833760068423E6</c:v>
                </c:pt>
                <c:pt idx="283">
                  <c:v>1.31683815432135E6</c:v>
                </c:pt>
                <c:pt idx="284">
                  <c:v>1.31533731703379E6</c:v>
                </c:pt>
                <c:pt idx="285">
                  <c:v>1.3138351242263E6</c:v>
                </c:pt>
                <c:pt idx="286">
                  <c:v>1.31233161095895E6</c:v>
                </c:pt>
                <c:pt idx="287">
                  <c:v>1.31082681195039E6</c:v>
                </c:pt>
                <c:pt idx="288">
                  <c:v>1.30932076158093E6</c:v>
                </c:pt>
                <c:pt idx="289">
                  <c:v>1.3078134938955E6</c:v>
                </c:pt>
                <c:pt idx="290">
                  <c:v>1.30630504260681E6</c:v>
                </c:pt>
                <c:pt idx="291">
                  <c:v>1.3047954410983E6</c:v>
                </c:pt>
                <c:pt idx="292">
                  <c:v>1.30328472242711E6</c:v>
                </c:pt>
                <c:pt idx="293">
                  <c:v>1.30177291932708E6</c:v>
                </c:pt>
                <c:pt idx="294">
                  <c:v>1.30026006421163E6</c:v>
                </c:pt>
                <c:pt idx="295">
                  <c:v>1.2987461891767E6</c:v>
                </c:pt>
                <c:pt idx="296">
                  <c:v>1.29723132600355E6</c:v>
                </c:pt>
                <c:pt idx="297">
                  <c:v>1.2957155061617E6</c:v>
                </c:pt>
                <c:pt idx="298">
                  <c:v>1.29419876081167E6</c:v>
                </c:pt>
                <c:pt idx="299">
                  <c:v>1.29268112080781E6</c:v>
                </c:pt>
                <c:pt idx="300">
                  <c:v>1.29116261670107E6</c:v>
                </c:pt>
                <c:pt idx="301">
                  <c:v>1.28964327874168E6</c:v>
                </c:pt>
                <c:pt idx="302">
                  <c:v>1.28812313688196E6</c:v>
                </c:pt>
                <c:pt idx="303">
                  <c:v>1.28660222077892E6</c:v>
                </c:pt>
                <c:pt idx="304">
                  <c:v>1.285080559797E6</c:v>
                </c:pt>
                <c:pt idx="305">
                  <c:v>1.28355818301062E6</c:v>
                </c:pt>
                <c:pt idx="306">
                  <c:v>1.28203511920688E6</c:v>
                </c:pt>
                <c:pt idx="307">
                  <c:v>1.28051139688811E6</c:v>
                </c:pt>
                <c:pt idx="308">
                  <c:v>1.27898704427445E6</c:v>
                </c:pt>
                <c:pt idx="309">
                  <c:v>1.27746208930635E6</c:v>
                </c:pt>
                <c:pt idx="310">
                  <c:v>1.27593655964716E6</c:v>
                </c:pt>
                <c:pt idx="311">
                  <c:v>1.27441048268557E6</c:v>
                </c:pt>
                <c:pt idx="312">
                  <c:v>1.27288388553811E6</c:v>
                </c:pt>
                <c:pt idx="313">
                  <c:v>1.27135679505158E6</c:v>
                </c:pt>
                <c:pt idx="314">
                  <c:v>1.2698292378055E6</c:v>
                </c:pt>
                <c:pt idx="315">
                  <c:v>1.2683012401145E6</c:v>
                </c:pt>
                <c:pt idx="316">
                  <c:v>1.26677282803069E6</c:v>
                </c:pt>
                <c:pt idx="317">
                  <c:v>1.26524402734605E6</c:v>
                </c:pt>
                <c:pt idx="318">
                  <c:v>1.26371486359476E6</c:v>
                </c:pt>
                <c:pt idx="319">
                  <c:v>1.2621853620555E6</c:v>
                </c:pt>
                <c:pt idx="320">
                  <c:v>1.26065554775375E6</c:v>
                </c:pt>
                <c:pt idx="321">
                  <c:v>1.25912544546409E6</c:v>
                </c:pt>
                <c:pt idx="322">
                  <c:v>1.25759507971242E6</c:v>
                </c:pt>
                <c:pt idx="323">
                  <c:v>1.25606447477822E6</c:v>
                </c:pt>
                <c:pt idx="324">
                  <c:v>1.25453365469673E6</c:v>
                </c:pt>
                <c:pt idx="325">
                  <c:v>1.25300264326119E6</c:v>
                </c:pt>
                <c:pt idx="326">
                  <c:v>1.25147146402497E6</c:v>
                </c:pt>
                <c:pt idx="327">
                  <c:v>1.24994014030374E6</c:v>
                </c:pt>
                <c:pt idx="328">
                  <c:v>1.2484086951776E6</c:v>
                </c:pt>
                <c:pt idx="329">
                  <c:v>1.24687715149319E6</c:v>
                </c:pt>
                <c:pt idx="330">
                  <c:v>1.24534553186577E6</c:v>
                </c:pt>
                <c:pt idx="331">
                  <c:v>1.24381385868134E6</c:v>
                </c:pt>
                <c:pt idx="332">
                  <c:v>1.24228215409864E6</c:v>
                </c:pt>
                <c:pt idx="333">
                  <c:v>1.24075044005124E6</c:v>
                </c:pt>
                <c:pt idx="334">
                  <c:v>1.23921873824949E6</c:v>
                </c:pt>
                <c:pt idx="335">
                  <c:v>1.23768707018259E6</c:v>
                </c:pt>
                <c:pt idx="336">
                  <c:v>1.23615545712052E6</c:v>
                </c:pt>
                <c:pt idx="337">
                  <c:v>1.23462392011604E6</c:v>
                </c:pt>
                <c:pt idx="338">
                  <c:v>1.23309248000662E6</c:v>
                </c:pt>
                <c:pt idx="339">
                  <c:v>1.23156115741633E6</c:v>
                </c:pt>
                <c:pt idx="340">
                  <c:v>1.23002997275783E6</c:v>
                </c:pt>
                <c:pt idx="341">
                  <c:v>1.22849894623419E6</c:v>
                </c:pt>
                <c:pt idx="342">
                  <c:v>1.22696809784081E6</c:v>
                </c:pt>
                <c:pt idx="343">
                  <c:v>1.22543744736725E6</c:v>
                </c:pt>
                <c:pt idx="344">
                  <c:v>1.22390701439909E6</c:v>
                </c:pt>
                <c:pt idx="345">
                  <c:v>1.22237681831973E6</c:v>
                </c:pt>
                <c:pt idx="346">
                  <c:v>1.22084687831225E6</c:v>
                </c:pt>
                <c:pt idx="347">
                  <c:v>1.21931721336113E6</c:v>
                </c:pt>
                <c:pt idx="348">
                  <c:v>1.21778784225409E6</c:v>
                </c:pt>
                <c:pt idx="349">
                  <c:v>1.2162587835838E6</c:v>
                </c:pt>
                <c:pt idx="350">
                  <c:v>1.21473005574964E6</c:v>
                </c:pt>
                <c:pt idx="351">
                  <c:v>1.21320167695947E6</c:v>
                </c:pt>
                <c:pt idx="352">
                  <c:v>1.21167366523127E6</c:v>
                </c:pt>
                <c:pt idx="353">
                  <c:v>1.21014603839488E6</c:v>
                </c:pt>
                <c:pt idx="354">
                  <c:v>1.20861881409367E6</c:v>
                </c:pt>
                <c:pt idx="355">
                  <c:v>1.20709200978621E6</c:v>
                </c:pt>
                <c:pt idx="356">
                  <c:v>1.20556564274791E6</c:v>
                </c:pt>
                <c:pt idx="357">
                  <c:v>1.20403973007268E6</c:v>
                </c:pt>
                <c:pt idx="358">
                  <c:v>1.20251428867451E6</c:v>
                </c:pt>
                <c:pt idx="359">
                  <c:v>1.20098933528912E6</c:v>
                </c:pt>
                <c:pt idx="360">
                  <c:v>1.19946488647552E6</c:v>
                </c:pt>
                <c:pt idx="361">
                  <c:v>1.19794095861761E6</c:v>
                </c:pt>
                <c:pt idx="362">
                  <c:v>1.19641756792573E6</c:v>
                </c:pt>
                <c:pt idx="363">
                  <c:v>1.19489473043822E6</c:v>
                </c:pt>
                <c:pt idx="364">
                  <c:v>1.19337246202293E6</c:v>
                </c:pt>
                <c:pt idx="365">
                  <c:v>1.19185077837877E6</c:v>
                </c:pt>
                <c:pt idx="366">
                  <c:v>1.19032969503722E6</c:v>
                </c:pt>
                <c:pt idx="367">
                  <c:v>1.18880922736378E6</c:v>
                </c:pt>
                <c:pt idx="368">
                  <c:v>1.18728939055952E6</c:v>
                </c:pt>
                <c:pt idx="369">
                  <c:v>1.18577019966248E6</c:v>
                </c:pt>
                <c:pt idx="370">
                  <c:v>1.18425166954917E6</c:v>
                </c:pt>
                <c:pt idx="371">
                  <c:v>1.182733814936E6</c:v>
                </c:pt>
                <c:pt idx="372">
                  <c:v>1.18121665038067E6</c:v>
                </c:pt>
                <c:pt idx="373">
                  <c:v>1.17970019028366E6</c:v>
                </c:pt>
                <c:pt idx="374">
                  <c:v>1.17818444888957E6</c:v>
                </c:pt>
                <c:pt idx="375">
                  <c:v>1.17666944028855E6</c:v>
                </c:pt>
                <c:pt idx="376">
                  <c:v>1.17515517841764E6</c:v>
                </c:pt>
                <c:pt idx="377">
                  <c:v>1.17364167706217E6</c:v>
                </c:pt>
                <c:pt idx="378">
                  <c:v>1.17212894985708E6</c:v>
                </c:pt>
                <c:pt idx="379">
                  <c:v>1.17061701028831E6</c:v>
                </c:pt>
                <c:pt idx="380">
                  <c:v>1.16910587169407E6</c:v>
                </c:pt>
                <c:pt idx="381">
                  <c:v>1.16759554726621E6</c:v>
                </c:pt>
                <c:pt idx="382">
                  <c:v>1.16608605005148E6</c:v>
                </c:pt>
                <c:pt idx="383">
                  <c:v>1.16457739295288E6</c:v>
                </c:pt>
                <c:pt idx="384">
                  <c:v>1.16306958873086E6</c:v>
                </c:pt>
                <c:pt idx="385">
                  <c:v>1.16156265000469E6</c:v>
                </c:pt>
                <c:pt idx="386">
                  <c:v>1.16005658925363E6</c:v>
                </c:pt>
                <c:pt idx="387">
                  <c:v>1.15855141881825E6</c:v>
                </c:pt>
                <c:pt idx="388">
                  <c:v>1.1570471509016E6</c:v>
                </c:pt>
                <c:pt idx="389">
                  <c:v>1.1555437975705E6</c:v>
                </c:pt>
                <c:pt idx="390">
                  <c:v>1.15404137075672E6</c:v>
                </c:pt>
                <c:pt idx="391">
                  <c:v>1.15253988225817E6</c:v>
                </c:pt>
                <c:pt idx="392">
                  <c:v>1.15103934374015E6</c:v>
                </c:pt>
                <c:pt idx="393">
                  <c:v>1.14953976673647E6</c:v>
                </c:pt>
                <c:pt idx="394">
                  <c:v>1.14804116265066E6</c:v>
                </c:pt>
                <c:pt idx="395">
                  <c:v>1.14654354275713E6</c:v>
                </c:pt>
                <c:pt idx="396">
                  <c:v>1.14504691820229E6</c:v>
                </c:pt>
                <c:pt idx="397">
                  <c:v>1.14355130000577E6</c:v>
                </c:pt>
                <c:pt idx="398">
                  <c:v>1.14205669906143E6</c:v>
                </c:pt>
                <c:pt idx="399">
                  <c:v>1.1405631261386E6</c:v>
                </c:pt>
                <c:pt idx="400">
                  <c:v>1.13907059188311E6</c:v>
                </c:pt>
                <c:pt idx="401">
                  <c:v>1.13757910681846E6</c:v>
                </c:pt>
                <c:pt idx="402">
                  <c:v>1.13608868134684E6</c:v>
                </c:pt>
                <c:pt idx="403">
                  <c:v>1.13459932575026E6</c:v>
                </c:pt>
                <c:pt idx="404">
                  <c:v>1.13311105019162E6</c:v>
                </c:pt>
                <c:pt idx="405">
                  <c:v>1.13162386471576E6</c:v>
                </c:pt>
                <c:pt idx="406">
                  <c:v>1.1301377792505E6</c:v>
                </c:pt>
                <c:pt idx="407">
                  <c:v>1.12865280360774E6</c:v>
                </c:pt>
                <c:pt idx="408">
                  <c:v>1.12716894748441E6</c:v>
                </c:pt>
                <c:pt idx="409">
                  <c:v>1.1256862204636E6</c:v>
                </c:pt>
                <c:pt idx="410">
                  <c:v>1.12420463201547E6</c:v>
                </c:pt>
                <c:pt idx="411">
                  <c:v>1.12272419149833E6</c:v>
                </c:pt>
                <c:pt idx="412">
                  <c:v>1.12124490815963E6</c:v>
                </c:pt>
                <c:pt idx="413">
                  <c:v>1.11976679113693E6</c:v>
                </c:pt>
                <c:pt idx="414">
                  <c:v>1.1182898494589E6</c:v>
                </c:pt>
                <c:pt idx="415">
                  <c:v>1.11681409204626E6</c:v>
                </c:pt>
                <c:pt idx="416">
                  <c:v>1.1153395277128E6</c:v>
                </c:pt>
                <c:pt idx="417">
                  <c:v>1.11386616516629E6</c:v>
                </c:pt>
                <c:pt idx="418">
                  <c:v>1.11239401300943E6</c:v>
                </c:pt>
                <c:pt idx="419">
                  <c:v>1.11092307974084E6</c:v>
                </c:pt>
                <c:pt idx="420">
                  <c:v>1.10945337375592E6</c:v>
                </c:pt>
                <c:pt idx="421">
                  <c:v>1.10798490334782E6</c:v>
                </c:pt>
                <c:pt idx="422">
                  <c:v>1.10651767670834E6</c:v>
                </c:pt>
                <c:pt idx="423">
                  <c:v>1.10505170192884E6</c:v>
                </c:pt>
                <c:pt idx="424">
                  <c:v>1.10358698700113E6</c:v>
                </c:pt>
                <c:pt idx="425">
                  <c:v>1.10212353981838E6</c:v>
                </c:pt>
                <c:pt idx="426">
                  <c:v>1.10066136817597E6</c:v>
                </c:pt>
                <c:pt idx="427">
                  <c:v>1.09920047977242E6</c:v>
                </c:pt>
                <c:pt idx="428">
                  <c:v>1.09774088221019E6</c:v>
                </c:pt>
                <c:pt idx="429">
                  <c:v>1.0962825829966E6</c:v>
                </c:pt>
                <c:pt idx="430">
                  <c:v>1.09482558954464E6</c:v>
                </c:pt>
                <c:pt idx="431">
                  <c:v>1.09336990917384E6</c:v>
                </c:pt>
                <c:pt idx="432">
                  <c:v>1.09191554911111E6</c:v>
                </c:pt>
                <c:pt idx="433">
                  <c:v>1.09046251649153E6</c:v>
                </c:pt>
                <c:pt idx="434">
                  <c:v>1.08901081835924E6</c:v>
                </c:pt>
                <c:pt idx="435">
                  <c:v>1.08756046166819E6</c:v>
                </c:pt>
                <c:pt idx="436">
                  <c:v>1.08611145328301E6</c:v>
                </c:pt>
                <c:pt idx="437">
                  <c:v>1.08466379997973E6</c:v>
                </c:pt>
                <c:pt idx="438">
                  <c:v>1.08321750844668E6</c:v>
                </c:pt>
                <c:pt idx="439">
                  <c:v>1.08177258528519E6</c:v>
                </c:pt>
                <c:pt idx="440">
                  <c:v>1.08032903701041E6</c:v>
                </c:pt>
                <c:pt idx="441">
                  <c:v>1.07888687005209E6</c:v>
                </c:pt>
                <c:pt idx="442">
                  <c:v>1.0774460907553E6</c:v>
                </c:pt>
                <c:pt idx="443">
                  <c:v>1.07600670538128E6</c:v>
                </c:pt>
                <c:pt idx="444">
                  <c:v>1.0745687201081E6</c:v>
                </c:pt>
                <c:pt idx="445">
                  <c:v>1.07313214103144E6</c:v>
                </c:pt>
                <c:pt idx="446">
                  <c:v>1.07169697416536E6</c:v>
                </c:pt>
                <c:pt idx="447">
                  <c:v>1.07026322544303E6</c:v>
                </c:pt>
                <c:pt idx="448">
                  <c:v>1.06883090071741E6</c:v>
                </c:pt>
                <c:pt idx="449">
                  <c:v>1.067400005762E6</c:v>
                </c:pt>
                <c:pt idx="450">
                  <c:v>1.0659705462716E6</c:v>
                </c:pt>
                <c:pt idx="451">
                  <c:v>1.0645425278629E6</c:v>
                </c:pt>
                <c:pt idx="452">
                  <c:v>1.06311595607534E6</c:v>
                </c:pt>
                <c:pt idx="453">
                  <c:v>1.06169083637169E6</c:v>
                </c:pt>
                <c:pt idx="454">
                  <c:v>1.0602671741388E6</c:v>
                </c:pt>
                <c:pt idx="455">
                  <c:v>1.05884497468822E6</c:v>
                </c:pt>
                <c:pt idx="456">
                  <c:v>1.05742424325698E6</c:v>
                </c:pt>
                <c:pt idx="457">
                  <c:v>1.05600498500816E6</c:v>
                </c:pt>
                <c:pt idx="458">
                  <c:v>1.05458720503163E6</c:v>
                </c:pt>
                <c:pt idx="459">
                  <c:v>1.05317090834467E6</c:v>
                </c:pt>
                <c:pt idx="460">
                  <c:v>1.05175609989265E6</c:v>
                </c:pt>
                <c:pt idx="461">
                  <c:v>1.05034278454966E6</c:v>
                </c:pt>
                <c:pt idx="462">
                  <c:v>1.04893096711918E6</c:v>
                </c:pt>
                <c:pt idx="463">
                  <c:v>1.04752065233469E6</c:v>
                </c:pt>
                <c:pt idx="464">
                  <c:v>1.04611184486032E6</c:v>
                </c:pt>
                <c:pt idx="465">
                  <c:v>1.04470454929148E6</c:v>
                </c:pt>
                <c:pt idx="466">
                  <c:v>1.04329877015548E6</c:v>
                </c:pt>
                <c:pt idx="467">
                  <c:v>1.04189451191214E6</c:v>
                </c:pt>
                <c:pt idx="468">
                  <c:v>1.0404917789544E6</c:v>
                </c:pt>
                <c:pt idx="469">
                  <c:v>1.03909057560894E6</c:v>
                </c:pt>
                <c:pt idx="470">
                  <c:v>1.03769090613677E6</c:v>
                </c:pt>
                <c:pt idx="471">
                  <c:v>1.03629277473385E6</c:v>
                </c:pt>
                <c:pt idx="472">
                  <c:v>1.03489618553161E6</c:v>
                </c:pt>
                <c:pt idx="473">
                  <c:v>1.03350114259765E6</c:v>
                </c:pt>
                <c:pt idx="474">
                  <c:v>1.03210764993622E6</c:v>
                </c:pt>
                <c:pt idx="475">
                  <c:v>1.03071571148883E6</c:v>
                </c:pt>
                <c:pt idx="476">
                  <c:v>1.02932533113483E6</c:v>
                </c:pt>
                <c:pt idx="477">
                  <c:v>1.02793651269198E6</c:v>
                </c:pt>
                <c:pt idx="478">
                  <c:v>1.02654925991699E6</c:v>
                </c:pt>
                <c:pt idx="479">
                  <c:v>1.0251635765061E6</c:v>
                </c:pt>
                <c:pt idx="480">
                  <c:v>1.02377946609556E6</c:v>
                </c:pt>
                <c:pt idx="481">
                  <c:v>1.02239693226233E6</c:v>
                </c:pt>
                <c:pt idx="482">
                  <c:v>1.02101597852445E6</c:v>
                </c:pt>
                <c:pt idx="483">
                  <c:v>1.01963660834168E6</c:v>
                </c:pt>
                <c:pt idx="484">
                  <c:v>1.018258825116E6</c:v>
                </c:pt>
                <c:pt idx="485">
                  <c:v>1.01688263219215E6</c:v>
                </c:pt>
                <c:pt idx="486">
                  <c:v>1.01550803285814E6</c:v>
                </c:pt>
                <c:pt idx="487">
                  <c:v>1.01413503034576E6</c:v>
                </c:pt>
                <c:pt idx="488">
                  <c:v>1.01276362783115E6</c:v>
                </c:pt>
                <c:pt idx="489">
                  <c:v>1.01139382843524E6</c:v>
                </c:pt>
                <c:pt idx="490">
                  <c:v>1.01002563522429E6</c:v>
                </c:pt>
                <c:pt idx="491">
                  <c:v>1.00865905121037E6</c:v>
                </c:pt>
                <c:pt idx="492">
                  <c:v>1.00729407935191E6</c:v>
                </c:pt>
                <c:pt idx="493">
                  <c:v>1.00593072255414E6</c:v>
                </c:pt>
                <c:pt idx="494">
                  <c:v>1.00456898366958E6</c:v>
                </c:pt>
                <c:pt idx="495">
                  <c:v>1.00320886549854E6</c:v>
                </c:pt>
                <c:pt idx="496">
                  <c:v>1.00185037078963E6</c:v>
                </c:pt>
                <c:pt idx="497">
                  <c:v>1.00049350224017E6</c:v>
                </c:pt>
                <c:pt idx="498">
                  <c:v>999138.2624967176</c:v>
                </c:pt>
                <c:pt idx="499">
                  <c:v>997784.6541554973</c:v>
                </c:pt>
                <c:pt idx="500">
                  <c:v>996432.6797628991</c:v>
                </c:pt>
                <c:pt idx="501">
                  <c:v>995082.341815912</c:v>
                </c:pt>
                <c:pt idx="502">
                  <c:v>993733.6427625861</c:v>
                </c:pt>
                <c:pt idx="503">
                  <c:v>992386.5850024917</c:v>
                </c:pt>
                <c:pt idx="504">
                  <c:v>991041.170887165</c:v>
                </c:pt>
                <c:pt idx="505">
                  <c:v>989697.4027205441</c:v>
                </c:pt>
                <c:pt idx="506">
                  <c:v>988355.282759425</c:v>
                </c:pt>
                <c:pt idx="507">
                  <c:v>987014.8132138771</c:v>
                </c:pt>
                <c:pt idx="508">
                  <c:v>985675.996247692</c:v>
                </c:pt>
                <c:pt idx="509">
                  <c:v>984338.8339788148</c:v>
                </c:pt>
                <c:pt idx="510">
                  <c:v>983003.3284797608</c:v>
                </c:pt>
                <c:pt idx="511">
                  <c:v>981669.4817780302</c:v>
                </c:pt>
                <c:pt idx="512">
                  <c:v>980337.2958565515</c:v>
                </c:pt>
                <c:pt idx="513">
                  <c:v>979006.772654067</c:v>
                </c:pt>
                <c:pt idx="514">
                  <c:v>977677.9140655727</c:v>
                </c:pt>
                <c:pt idx="515">
                  <c:v>976350.7219426943</c:v>
                </c:pt>
                <c:pt idx="516">
                  <c:v>975025.1980941248</c:v>
                </c:pt>
                <c:pt idx="517">
                  <c:v>973701.344285998</c:v>
                </c:pt>
                <c:pt idx="518">
                  <c:v>972379.1622422943</c:v>
                </c:pt>
                <c:pt idx="519">
                  <c:v>971058.653645247</c:v>
                </c:pt>
                <c:pt idx="520">
                  <c:v>969739.8201357104</c:v>
                </c:pt>
                <c:pt idx="521">
                  <c:v>968422.6633135717</c:v>
                </c:pt>
                <c:pt idx="522">
                  <c:v>967107.1847381112</c:v>
                </c:pt>
                <c:pt idx="523">
                  <c:v>965793.3859283993</c:v>
                </c:pt>
                <c:pt idx="524">
                  <c:v>964481.2683636693</c:v>
                </c:pt>
                <c:pt idx="525">
                  <c:v>963170.833483687</c:v>
                </c:pt>
                <c:pt idx="526">
                  <c:v>961862.0826891231</c:v>
                </c:pt>
                <c:pt idx="527">
                  <c:v>960555.0173419293</c:v>
                </c:pt>
                <c:pt idx="528">
                  <c:v>959249.6387656932</c:v>
                </c:pt>
                <c:pt idx="529">
                  <c:v>957945.9482460027</c:v>
                </c:pt>
                <c:pt idx="530">
                  <c:v>956643.9470308102</c:v>
                </c:pt>
                <c:pt idx="531">
                  <c:v>955343.6363307693</c:v>
                </c:pt>
                <c:pt idx="532">
                  <c:v>954045.017319615</c:v>
                </c:pt>
                <c:pt idx="533">
                  <c:v>952748.091134491</c:v>
                </c:pt>
                <c:pt idx="534">
                  <c:v>951452.858876311</c:v>
                </c:pt>
                <c:pt idx="535">
                  <c:v>950159.3216100756</c:v>
                </c:pt>
                <c:pt idx="536">
                  <c:v>948867.4803652539</c:v>
                </c:pt>
                <c:pt idx="537">
                  <c:v>947577.336136085</c:v>
                </c:pt>
                <c:pt idx="538">
                  <c:v>946288.8898819371</c:v>
                </c:pt>
                <c:pt idx="539">
                  <c:v>945002.142527612</c:v>
                </c:pt>
                <c:pt idx="540">
                  <c:v>943717.0949637089</c:v>
                </c:pt>
                <c:pt idx="541">
                  <c:v>942433.7480469223</c:v>
                </c:pt>
                <c:pt idx="542">
                  <c:v>941152.1026003743</c:v>
                </c:pt>
                <c:pt idx="543">
                  <c:v>939872.1594139434</c:v>
                </c:pt>
                <c:pt idx="544">
                  <c:v>938593.9192445712</c:v>
                </c:pt>
                <c:pt idx="545">
                  <c:v>937317.3828165842</c:v>
                </c:pt>
                <c:pt idx="546">
                  <c:v>936042.5508219974</c:v>
                </c:pt>
                <c:pt idx="547">
                  <c:v>934769.423920841</c:v>
                </c:pt>
                <c:pt idx="548">
                  <c:v>933498.0027414423</c:v>
                </c:pt>
                <c:pt idx="549">
                  <c:v>932228.2878807662</c:v>
                </c:pt>
                <c:pt idx="550">
                  <c:v>930960.2799046719</c:v>
                </c:pt>
                <c:pt idx="551">
                  <c:v>929693.9793482631</c:v>
                </c:pt>
                <c:pt idx="552">
                  <c:v>928429.3867161395</c:v>
                </c:pt>
                <c:pt idx="553">
                  <c:v>927166.5024827145</c:v>
                </c:pt>
                <c:pt idx="554">
                  <c:v>925905.3270924973</c:v>
                </c:pt>
                <c:pt idx="555">
                  <c:v>924645.8609604054</c:v>
                </c:pt>
                <c:pt idx="556">
                  <c:v>923388.1044720183</c:v>
                </c:pt>
                <c:pt idx="557">
                  <c:v>922132.0579838766</c:v>
                </c:pt>
                <c:pt idx="558">
                  <c:v>920877.721823779</c:v>
                </c:pt>
                <c:pt idx="559">
                  <c:v>919625.0962910325</c:v>
                </c:pt>
                <c:pt idx="560">
                  <c:v>918374.1816567526</c:v>
                </c:pt>
                <c:pt idx="561">
                  <c:v>917124.9781641249</c:v>
                </c:pt>
                <c:pt idx="562">
                  <c:v>915877.4860286923</c:v>
                </c:pt>
                <c:pt idx="563">
                  <c:v>914631.7054386063</c:v>
                </c:pt>
                <c:pt idx="564">
                  <c:v>913387.63655492</c:v>
                </c:pt>
                <c:pt idx="565">
                  <c:v>912145.2795118162</c:v>
                </c:pt>
                <c:pt idx="566">
                  <c:v>910904.6344169138</c:v>
                </c:pt>
                <c:pt idx="567">
                  <c:v>909665.7013514993</c:v>
                </c:pt>
                <c:pt idx="568">
                  <c:v>908428.4803707883</c:v>
                </c:pt>
                <c:pt idx="569">
                  <c:v>907192.9715042026</c:v>
                </c:pt>
                <c:pt idx="570">
                  <c:v>905959.1747555989</c:v>
                </c:pt>
                <c:pt idx="571">
                  <c:v>904727.0901035488</c:v>
                </c:pt>
                <c:pt idx="572">
                  <c:v>903496.7175015516</c:v>
                </c:pt>
                <c:pt idx="573">
                  <c:v>902268.0568783234</c:v>
                </c:pt>
                <c:pt idx="574">
                  <c:v>901041.108138014</c:v>
                </c:pt>
                <c:pt idx="575">
                  <c:v>899815.8711604613</c:v>
                </c:pt>
                <c:pt idx="576">
                  <c:v>898592.345801438</c:v>
                </c:pt>
                <c:pt idx="577">
                  <c:v>897370.5318928774</c:v>
                </c:pt>
                <c:pt idx="578">
                  <c:v>896150.4292431286</c:v>
                </c:pt>
                <c:pt idx="579">
                  <c:v>894932.0376371785</c:v>
                </c:pt>
                <c:pt idx="580">
                  <c:v>893715.356836891</c:v>
                </c:pt>
                <c:pt idx="581">
                  <c:v>892500.386581234</c:v>
                </c:pt>
                <c:pt idx="582">
                  <c:v>891287.126586524</c:v>
                </c:pt>
                <c:pt idx="583">
                  <c:v>890075.5765466356</c:v>
                </c:pt>
                <c:pt idx="584">
                  <c:v>888865.736133235</c:v>
                </c:pt>
                <c:pt idx="585">
                  <c:v>887657.6049959993</c:v>
                </c:pt>
                <c:pt idx="586">
                  <c:v>886451.1827628522</c:v>
                </c:pt>
                <c:pt idx="587">
                  <c:v>885246.4690401773</c:v>
                </c:pt>
                <c:pt idx="588">
                  <c:v>884043.463413014</c:v>
                </c:pt>
                <c:pt idx="589">
                  <c:v>882842.1654453204</c:v>
                </c:pt>
                <c:pt idx="590">
                  <c:v>881642.5746801415</c:v>
                </c:pt>
                <c:pt idx="591">
                  <c:v>880444.6906398515</c:v>
                </c:pt>
                <c:pt idx="592">
                  <c:v>879248.512826352</c:v>
                </c:pt>
                <c:pt idx="593">
                  <c:v>878054.0407212881</c:v>
                </c:pt>
                <c:pt idx="594">
                  <c:v>876861.2737862426</c:v>
                </c:pt>
                <c:pt idx="595">
                  <c:v>875670.2114629658</c:v>
                </c:pt>
                <c:pt idx="596">
                  <c:v>874480.853173547</c:v>
                </c:pt>
                <c:pt idx="597">
                  <c:v>873293.1983206503</c:v>
                </c:pt>
                <c:pt idx="598">
                  <c:v>872107.2462876877</c:v>
                </c:pt>
                <c:pt idx="599">
                  <c:v>870922.9964390326</c:v>
                </c:pt>
                <c:pt idx="600">
                  <c:v>869740.4481202196</c:v>
                </c:pt>
                <c:pt idx="601">
                  <c:v>868559.6006581193</c:v>
                </c:pt>
                <c:pt idx="602">
                  <c:v>867380.4533611542</c:v>
                </c:pt>
                <c:pt idx="603">
                  <c:v>866203.005519488</c:v>
                </c:pt>
                <c:pt idx="604">
                  <c:v>865027.2564052004</c:v>
                </c:pt>
                <c:pt idx="605">
                  <c:v>863853.2052724933</c:v>
                </c:pt>
                <c:pt idx="606">
                  <c:v>862680.851357863</c:v>
                </c:pt>
                <c:pt idx="607">
                  <c:v>861510.1938803014</c:v>
                </c:pt>
                <c:pt idx="608">
                  <c:v>860341.2320414684</c:v>
                </c:pt>
                <c:pt idx="609">
                  <c:v>859173.965025878</c:v>
                </c:pt>
                <c:pt idx="610">
                  <c:v>858008.3920010738</c:v>
                </c:pt>
                <c:pt idx="611">
                  <c:v>856844.5121178293</c:v>
                </c:pt>
                <c:pt idx="612">
                  <c:v>855682.3245102923</c:v>
                </c:pt>
                <c:pt idx="613">
                  <c:v>854521.8282961874</c:v>
                </c:pt>
                <c:pt idx="614">
                  <c:v>853363.022576979</c:v>
                </c:pt>
                <c:pt idx="615">
                  <c:v>852205.9064380523</c:v>
                </c:pt>
                <c:pt idx="616">
                  <c:v>851050.478948878</c:v>
                </c:pt>
                <c:pt idx="617">
                  <c:v>849896.7391631794</c:v>
                </c:pt>
                <c:pt idx="618">
                  <c:v>848744.6861191213</c:v>
                </c:pt>
                <c:pt idx="619">
                  <c:v>847594.3188394528</c:v>
                </c:pt>
                <c:pt idx="620">
                  <c:v>846445.636331678</c:v>
                </c:pt>
                <c:pt idx="621">
                  <c:v>845298.6375882438</c:v>
                </c:pt>
                <c:pt idx="622">
                  <c:v>844153.321586672</c:v>
                </c:pt>
                <c:pt idx="623">
                  <c:v>843009.6872897363</c:v>
                </c:pt>
                <c:pt idx="624">
                  <c:v>841867.7336456275</c:v>
                </c:pt>
                <c:pt idx="625">
                  <c:v>840727.459588099</c:v>
                </c:pt>
                <c:pt idx="626">
                  <c:v>839588.86403664</c:v>
                </c:pt>
                <c:pt idx="627">
                  <c:v>838451.945896619</c:v>
                </c:pt>
                <c:pt idx="628">
                  <c:v>837316.7040594389</c:v>
                </c:pt>
                <c:pt idx="629">
                  <c:v>836183.1374027035</c:v>
                </c:pt>
                <c:pt idx="630">
                  <c:v>835051.2447903533</c:v>
                </c:pt>
                <c:pt idx="631">
                  <c:v>833921.0250728386</c:v>
                </c:pt>
                <c:pt idx="632">
                  <c:v>832792.4770872375</c:v>
                </c:pt>
                <c:pt idx="633">
                  <c:v>831665.5996574385</c:v>
                </c:pt>
                <c:pt idx="634">
                  <c:v>830540.391594263</c:v>
                </c:pt>
                <c:pt idx="635">
                  <c:v>829416.851695619</c:v>
                </c:pt>
                <c:pt idx="636">
                  <c:v>828294.9787466539</c:v>
                </c:pt>
                <c:pt idx="637">
                  <c:v>827174.7715198862</c:v>
                </c:pt>
                <c:pt idx="638">
                  <c:v>826056.2287753541</c:v>
                </c:pt>
                <c:pt idx="639">
                  <c:v>824939.349260757</c:v>
                </c:pt>
                <c:pt idx="640">
                  <c:v>823824.1317115836</c:v>
                </c:pt>
                <c:pt idx="641">
                  <c:v>822710.574851275</c:v>
                </c:pt>
                <c:pt idx="642">
                  <c:v>821598.6773913332</c:v>
                </c:pt>
                <c:pt idx="643">
                  <c:v>820488.4380314864</c:v>
                </c:pt>
                <c:pt idx="644">
                  <c:v>819379.8554597974</c:v>
                </c:pt>
                <c:pt idx="645">
                  <c:v>818272.928352814</c:v>
                </c:pt>
                <c:pt idx="646">
                  <c:v>817167.6553756973</c:v>
                </c:pt>
                <c:pt idx="647">
                  <c:v>816064.0351823549</c:v>
                </c:pt>
                <c:pt idx="648">
                  <c:v>814962.0664155674</c:v>
                </c:pt>
                <c:pt idx="649">
                  <c:v>813861.7477071191</c:v>
                </c:pt>
                <c:pt idx="650">
                  <c:v>812763.0776779323</c:v>
                </c:pt>
                <c:pt idx="651">
                  <c:v>811666.0549381883</c:v>
                </c:pt>
                <c:pt idx="652">
                  <c:v>810570.6780874561</c:v>
                </c:pt>
                <c:pt idx="653">
                  <c:v>809476.9457148091</c:v>
                </c:pt>
                <c:pt idx="654">
                  <c:v>808384.8563989637</c:v>
                </c:pt>
                <c:pt idx="655">
                  <c:v>807294.4087083932</c:v>
                </c:pt>
                <c:pt idx="656">
                  <c:v>806205.6012014581</c:v>
                </c:pt>
                <c:pt idx="657">
                  <c:v>805118.432426504</c:v>
                </c:pt>
                <c:pt idx="658">
                  <c:v>804032.9009220087</c:v>
                </c:pt>
                <c:pt idx="659">
                  <c:v>802949.0052166916</c:v>
                </c:pt>
                <c:pt idx="660">
                  <c:v>801866.74382962</c:v>
                </c:pt>
                <c:pt idx="661">
                  <c:v>800786.115270347</c:v>
                </c:pt>
                <c:pt idx="662">
                  <c:v>799707.1180390058</c:v>
                </c:pt>
                <c:pt idx="663">
                  <c:v>798629.750626437</c:v>
                </c:pt>
                <c:pt idx="664">
                  <c:v>797554.0115143047</c:v>
                </c:pt>
                <c:pt idx="665">
                  <c:v>796479.8991751919</c:v>
                </c:pt>
                <c:pt idx="666">
                  <c:v>795407.4120727414</c:v>
                </c:pt>
                <c:pt idx="667">
                  <c:v>794336.5486617324</c:v>
                </c:pt>
                <c:pt idx="668">
                  <c:v>793267.307388216</c:v>
                </c:pt>
                <c:pt idx="669">
                  <c:v>792199.686689617</c:v>
                </c:pt>
                <c:pt idx="670">
                  <c:v>791133.684994837</c:v>
                </c:pt>
                <c:pt idx="671">
                  <c:v>790069.3007243635</c:v>
                </c:pt>
                <c:pt idx="672">
                  <c:v>789006.5322903865</c:v>
                </c:pt>
                <c:pt idx="673">
                  <c:v>787945.3780968741</c:v>
                </c:pt>
                <c:pt idx="674">
                  <c:v>786885.836539723</c:v>
                </c:pt>
                <c:pt idx="675">
                  <c:v>785827.906006819</c:v>
                </c:pt>
                <c:pt idx="676">
                  <c:v>784771.5848781562</c:v>
                </c:pt>
                <c:pt idx="677">
                  <c:v>783716.8715259494</c:v>
                </c:pt>
                <c:pt idx="678">
                  <c:v>782663.764314716</c:v>
                </c:pt>
                <c:pt idx="679">
                  <c:v>781612.2616013864</c:v>
                </c:pt>
                <c:pt idx="680">
                  <c:v>780562.3617354024</c:v>
                </c:pt>
                <c:pt idx="681">
                  <c:v>779514.0630588064</c:v>
                </c:pt>
                <c:pt idx="682">
                  <c:v>778467.363906359</c:v>
                </c:pt>
                <c:pt idx="683">
                  <c:v>777422.262605609</c:v>
                </c:pt>
                <c:pt idx="684">
                  <c:v>776378.7574770066</c:v>
                </c:pt>
                <c:pt idx="685">
                  <c:v>775336.846833997</c:v>
                </c:pt>
                <c:pt idx="686">
                  <c:v>774296.5289831104</c:v>
                </c:pt>
                <c:pt idx="687">
                  <c:v>773257.8022240526</c:v>
                </c:pt>
                <c:pt idx="688">
                  <c:v>772220.6648498011</c:v>
                </c:pt>
                <c:pt idx="689">
                  <c:v>771185.1151467002</c:v>
                </c:pt>
                <c:pt idx="690">
                  <c:v>770151.1513945421</c:v>
                </c:pt>
                <c:pt idx="691">
                  <c:v>769118.771866666</c:v>
                </c:pt>
                <c:pt idx="692">
                  <c:v>768087.9748300412</c:v>
                </c:pt>
                <c:pt idx="693">
                  <c:v>767058.7585453583</c:v>
                </c:pt>
                <c:pt idx="694">
                  <c:v>766031.121267115</c:v>
                </c:pt>
                <c:pt idx="695">
                  <c:v>765005.061243711</c:v>
                </c:pt>
                <c:pt idx="696">
                  <c:v>763980.5767175172</c:v>
                </c:pt>
                <c:pt idx="697">
                  <c:v>762957.665924975</c:v>
                </c:pt>
                <c:pt idx="698">
                  <c:v>761936.327096683</c:v>
                </c:pt>
                <c:pt idx="699">
                  <c:v>760916.5584574624</c:v>
                </c:pt>
                <c:pt idx="700">
                  <c:v>759898.358226462</c:v>
                </c:pt>
                <c:pt idx="701">
                  <c:v>758881.7246172293</c:v>
                </c:pt>
                <c:pt idx="702">
                  <c:v>757866.6558377944</c:v>
                </c:pt>
                <c:pt idx="703">
                  <c:v>756853.150090742</c:v>
                </c:pt>
                <c:pt idx="704">
                  <c:v>755841.2055733118</c:v>
                </c:pt>
                <c:pt idx="705">
                  <c:v>754830.8204774616</c:v>
                </c:pt>
                <c:pt idx="706">
                  <c:v>753821.9929899472</c:v>
                </c:pt>
                <c:pt idx="707">
                  <c:v>752814.721292407</c:v>
                </c:pt>
                <c:pt idx="708">
                  <c:v>751809.0035614375</c:v>
                </c:pt>
                <c:pt idx="709">
                  <c:v>750804.8379686673</c:v>
                </c:pt>
                <c:pt idx="710">
                  <c:v>749802.2226808395</c:v>
                </c:pt>
                <c:pt idx="711">
                  <c:v>748801.1558598727</c:v>
                </c:pt>
                <c:pt idx="712">
                  <c:v>747801.6356629567</c:v>
                </c:pt>
                <c:pt idx="713">
                  <c:v>746803.6602426061</c:v>
                </c:pt>
                <c:pt idx="714">
                  <c:v>745807.227746749</c:v>
                </c:pt>
                <c:pt idx="715">
                  <c:v>744812.3363187941</c:v>
                </c:pt>
                <c:pt idx="716">
                  <c:v>743818.9840976992</c:v>
                </c:pt>
                <c:pt idx="717">
                  <c:v>742827.1692180473</c:v>
                </c:pt>
                <c:pt idx="718">
                  <c:v>741836.8898101207</c:v>
                </c:pt>
                <c:pt idx="719">
                  <c:v>740848.1439999589</c:v>
                </c:pt>
                <c:pt idx="720">
                  <c:v>739860.9299094485</c:v>
                </c:pt>
                <c:pt idx="721">
                  <c:v>738875.245656365</c:v>
                </c:pt>
                <c:pt idx="722">
                  <c:v>737891.0893544669</c:v>
                </c:pt>
                <c:pt idx="723">
                  <c:v>736908.459113549</c:v>
                </c:pt>
                <c:pt idx="724">
                  <c:v>735927.3530395174</c:v>
                </c:pt>
                <c:pt idx="725">
                  <c:v>734947.7692344446</c:v>
                </c:pt>
                <c:pt idx="726">
                  <c:v>733969.7057966503</c:v>
                </c:pt>
                <c:pt idx="727">
                  <c:v>732993.1608207566</c:v>
                </c:pt>
                <c:pt idx="728">
                  <c:v>732018.1323977539</c:v>
                </c:pt>
                <c:pt idx="729">
                  <c:v>731044.6186150778</c:v>
                </c:pt>
                <c:pt idx="730">
                  <c:v>730072.6175566414</c:v>
                </c:pt>
                <c:pt idx="731">
                  <c:v>729102.1273029407</c:v>
                </c:pt>
                <c:pt idx="732">
                  <c:v>728133.1459310853</c:v>
                </c:pt>
                <c:pt idx="733">
                  <c:v>727165.6715148663</c:v>
                </c:pt>
                <c:pt idx="734">
                  <c:v>726199.7021248385</c:v>
                </c:pt>
                <c:pt idx="735">
                  <c:v>725235.2358283451</c:v>
                </c:pt>
                <c:pt idx="736">
                  <c:v>724272.2706896133</c:v>
                </c:pt>
                <c:pt idx="737">
                  <c:v>723310.8047697889</c:v>
                </c:pt>
                <c:pt idx="738">
                  <c:v>722350.836127016</c:v>
                </c:pt>
                <c:pt idx="739">
                  <c:v>721392.3628164725</c:v>
                </c:pt>
                <c:pt idx="740">
                  <c:v>720435.38289045</c:v>
                </c:pt>
                <c:pt idx="741">
                  <c:v>719479.8943984013</c:v>
                </c:pt>
                <c:pt idx="742">
                  <c:v>718525.895386998</c:v>
                </c:pt>
                <c:pt idx="743">
                  <c:v>717573.3839001837</c:v>
                </c:pt>
                <c:pt idx="744">
                  <c:v>716622.3579792441</c:v>
                </c:pt>
                <c:pt idx="745">
                  <c:v>715672.815662849</c:v>
                </c:pt>
                <c:pt idx="746">
                  <c:v>714724.7549871032</c:v>
                </c:pt>
                <c:pt idx="747">
                  <c:v>713778.1739856222</c:v>
                </c:pt>
                <c:pt idx="748">
                  <c:v>712833.0706895639</c:v>
                </c:pt>
                <c:pt idx="749">
                  <c:v>711889.4431277047</c:v>
                </c:pt>
                <c:pt idx="750">
                  <c:v>710947.2893264625</c:v>
                </c:pt>
                <c:pt idx="751">
                  <c:v>710006.6073099811</c:v>
                </c:pt>
                <c:pt idx="752">
                  <c:v>709067.3951001633</c:v>
                </c:pt>
                <c:pt idx="753">
                  <c:v>708129.6507167281</c:v>
                </c:pt>
                <c:pt idx="754">
                  <c:v>707193.3721772569</c:v>
                </c:pt>
                <c:pt idx="755">
                  <c:v>706258.55749726</c:v>
                </c:pt>
                <c:pt idx="756">
                  <c:v>705325.204690202</c:v>
                </c:pt>
                <c:pt idx="757">
                  <c:v>704393.3117675794</c:v>
                </c:pt>
                <c:pt idx="758">
                  <c:v>703462.8767389447</c:v>
                </c:pt>
                <c:pt idx="759">
                  <c:v>702533.8976119762</c:v>
                </c:pt>
                <c:pt idx="760">
                  <c:v>701606.3723925089</c:v>
                </c:pt>
                <c:pt idx="761">
                  <c:v>700680.299084599</c:v>
                </c:pt>
                <c:pt idx="762">
                  <c:v>699755.6756905612</c:v>
                </c:pt>
                <c:pt idx="763">
                  <c:v>698832.5002110107</c:v>
                </c:pt>
                <c:pt idx="764">
                  <c:v>697910.7706449303</c:v>
                </c:pt>
                <c:pt idx="765">
                  <c:v>696990.4849896939</c:v>
                </c:pt>
                <c:pt idx="766">
                  <c:v>696071.6412411306</c:v>
                </c:pt>
                <c:pt idx="767">
                  <c:v>695154.2373935519</c:v>
                </c:pt>
                <c:pt idx="768">
                  <c:v>694238.2714398203</c:v>
                </c:pt>
                <c:pt idx="769">
                  <c:v>693323.7413713683</c:v>
                </c:pt>
                <c:pt idx="770">
                  <c:v>692410.6451782624</c:v>
                </c:pt>
                <c:pt idx="771">
                  <c:v>691498.9808492443</c:v>
                </c:pt>
                <c:pt idx="772">
                  <c:v>690588.7463717561</c:v>
                </c:pt>
                <c:pt idx="773">
                  <c:v>689679.9397320097</c:v>
                </c:pt>
                <c:pt idx="774">
                  <c:v>688772.5589150076</c:v>
                </c:pt>
                <c:pt idx="775">
                  <c:v>687866.6019046027</c:v>
                </c:pt>
                <c:pt idx="776">
                  <c:v>686962.06668353</c:v>
                </c:pt>
                <c:pt idx="777">
                  <c:v>686058.951233444</c:v>
                </c:pt>
                <c:pt idx="778">
                  <c:v>685157.2535349699</c:v>
                </c:pt>
                <c:pt idx="779">
                  <c:v>684256.971567744</c:v>
                </c:pt>
                <c:pt idx="780">
                  <c:v>683358.1033104417</c:v>
                </c:pt>
                <c:pt idx="781">
                  <c:v>682460.6467408343</c:v>
                </c:pt>
                <c:pt idx="782">
                  <c:v>681564.5998358176</c:v>
                </c:pt>
                <c:pt idx="783">
                  <c:v>680669.96057145</c:v>
                </c:pt>
                <c:pt idx="784">
                  <c:v>679776.7269229976</c:v>
                </c:pt>
                <c:pt idx="785">
                  <c:v>678884.896864977</c:v>
                </c:pt>
                <c:pt idx="786">
                  <c:v>677994.4683711753</c:v>
                </c:pt>
                <c:pt idx="787">
                  <c:v>677105.4394147021</c:v>
                </c:pt>
                <c:pt idx="788">
                  <c:v>676217.8079680343</c:v>
                </c:pt>
                <c:pt idx="789">
                  <c:v>675331.5720030271</c:v>
                </c:pt>
                <c:pt idx="790">
                  <c:v>674446.729490979</c:v>
                </c:pt>
                <c:pt idx="791">
                  <c:v>673563.2784026518</c:v>
                </c:pt>
                <c:pt idx="792">
                  <c:v>672681.216708307</c:v>
                </c:pt>
                <c:pt idx="793">
                  <c:v>671800.542377747</c:v>
                </c:pt>
                <c:pt idx="794">
                  <c:v>670921.253380353</c:v>
                </c:pt>
                <c:pt idx="795">
                  <c:v>670043.347685111</c:v>
                </c:pt>
                <c:pt idx="796">
                  <c:v>669166.823260646</c:v>
                </c:pt>
                <c:pt idx="797">
                  <c:v>668291.6780752719</c:v>
                </c:pt>
                <c:pt idx="798">
                  <c:v>667417.9100970091</c:v>
                </c:pt>
                <c:pt idx="799">
                  <c:v>666545.5172936253</c:v>
                </c:pt>
                <c:pt idx="800">
                  <c:v>665674.4976326632</c:v>
                </c:pt>
                <c:pt idx="801">
                  <c:v>664804.8490814834</c:v>
                </c:pt>
                <c:pt idx="802">
                  <c:v>663936.569607289</c:v>
                </c:pt>
                <c:pt idx="803">
                  <c:v>663069.6571771619</c:v>
                </c:pt>
                <c:pt idx="804">
                  <c:v>662204.1097580879</c:v>
                </c:pt>
                <c:pt idx="805">
                  <c:v>661339.9253170086</c:v>
                </c:pt>
                <c:pt idx="806">
                  <c:v>660477.101820823</c:v>
                </c:pt>
                <c:pt idx="807">
                  <c:v>659615.6372364374</c:v>
                </c:pt>
                <c:pt idx="808">
                  <c:v>658755.5295307989</c:v>
                </c:pt>
                <c:pt idx="809">
                  <c:v>657896.776670919</c:v>
                </c:pt>
                <c:pt idx="810">
                  <c:v>657039.376623899</c:v>
                </c:pt>
                <c:pt idx="811">
                  <c:v>656183.3273569735</c:v>
                </c:pt>
                <c:pt idx="812">
                  <c:v>655328.626837527</c:v>
                </c:pt>
                <c:pt idx="813">
                  <c:v>654475.2730331281</c:v>
                </c:pt>
                <c:pt idx="814">
                  <c:v>653623.2639115643</c:v>
                </c:pt>
                <c:pt idx="815">
                  <c:v>652772.5974408684</c:v>
                </c:pt>
                <c:pt idx="816">
                  <c:v>651923.2715893363</c:v>
                </c:pt>
                <c:pt idx="817">
                  <c:v>651075.2843255663</c:v>
                </c:pt>
                <c:pt idx="818">
                  <c:v>650228.633618492</c:v>
                </c:pt>
                <c:pt idx="819">
                  <c:v>649383.317437387</c:v>
                </c:pt>
                <c:pt idx="820">
                  <c:v>648539.333751924</c:v>
                </c:pt>
                <c:pt idx="821">
                  <c:v>647696.6805321719</c:v>
                </c:pt>
                <c:pt idx="822">
                  <c:v>646855.3557486518</c:v>
                </c:pt>
                <c:pt idx="823">
                  <c:v>646015.3573723371</c:v>
                </c:pt>
                <c:pt idx="824">
                  <c:v>645176.6833746913</c:v>
                </c:pt>
                <c:pt idx="825">
                  <c:v>644339.3317277</c:v>
                </c:pt>
                <c:pt idx="826">
                  <c:v>643503.300403887</c:v>
                </c:pt>
                <c:pt idx="827">
                  <c:v>642668.5873763433</c:v>
                </c:pt>
                <c:pt idx="828">
                  <c:v>641835.1906187554</c:v>
                </c:pt>
                <c:pt idx="829">
                  <c:v>641003.1081054286</c:v>
                </c:pt>
                <c:pt idx="830">
                  <c:v>640172.3378113051</c:v>
                </c:pt>
                <c:pt idx="831">
                  <c:v>639342.8777120003</c:v>
                </c:pt>
                <c:pt idx="832">
                  <c:v>638514.7257838198</c:v>
                </c:pt>
                <c:pt idx="833">
                  <c:v>637687.8800037833</c:v>
                </c:pt>
                <c:pt idx="834">
                  <c:v>636862.3383496539</c:v>
                </c:pt>
                <c:pt idx="835">
                  <c:v>636038.0987999571</c:v>
                </c:pt>
                <c:pt idx="836">
                  <c:v>635215.159334004</c:v>
                </c:pt>
                <c:pt idx="837">
                  <c:v>634393.5179319121</c:v>
                </c:pt>
                <c:pt idx="838">
                  <c:v>633573.1725746363</c:v>
                </c:pt>
                <c:pt idx="839">
                  <c:v>632754.1212439917</c:v>
                </c:pt>
                <c:pt idx="840">
                  <c:v>631936.361922662</c:v>
                </c:pt>
                <c:pt idx="841">
                  <c:v>631119.8925942338</c:v>
                </c:pt>
                <c:pt idx="842">
                  <c:v>630304.7112432178</c:v>
                </c:pt>
                <c:pt idx="843">
                  <c:v>629490.815855066</c:v>
                </c:pt>
                <c:pt idx="844">
                  <c:v>628678.2044162017</c:v>
                </c:pt>
                <c:pt idx="845">
                  <c:v>627866.8749140253</c:v>
                </c:pt>
                <c:pt idx="846">
                  <c:v>627056.8253369514</c:v>
                </c:pt>
                <c:pt idx="847">
                  <c:v>626248.0536744254</c:v>
                </c:pt>
                <c:pt idx="848">
                  <c:v>625440.557916937</c:v>
                </c:pt>
                <c:pt idx="849">
                  <c:v>624634.336056045</c:v>
                </c:pt>
                <c:pt idx="850">
                  <c:v>623829.3860844045</c:v>
                </c:pt>
                <c:pt idx="851">
                  <c:v>623025.7059957713</c:v>
                </c:pt>
                <c:pt idx="852">
                  <c:v>622223.2937850427</c:v>
                </c:pt>
                <c:pt idx="853">
                  <c:v>621422.1474482499</c:v>
                </c:pt>
                <c:pt idx="854">
                  <c:v>620622.264982612</c:v>
                </c:pt>
                <c:pt idx="855">
                  <c:v>619823.6443865164</c:v>
                </c:pt>
                <c:pt idx="856">
                  <c:v>619026.2836595738</c:v>
                </c:pt>
                <c:pt idx="857">
                  <c:v>618230.1808026114</c:v>
                </c:pt>
                <c:pt idx="858">
                  <c:v>617435.3338176996</c:v>
                </c:pt>
                <c:pt idx="859">
                  <c:v>616641.7407081812</c:v>
                </c:pt>
                <c:pt idx="860">
                  <c:v>615849.3994786652</c:v>
                </c:pt>
                <c:pt idx="861">
                  <c:v>615058.308135073</c:v>
                </c:pt>
                <c:pt idx="862">
                  <c:v>614268.464684637</c:v>
                </c:pt>
                <c:pt idx="863">
                  <c:v>613479.867135922</c:v>
                </c:pt>
                <c:pt idx="864">
                  <c:v>612692.5134988481</c:v>
                </c:pt>
                <c:pt idx="865">
                  <c:v>611906.401784701</c:v>
                </c:pt>
                <c:pt idx="866">
                  <c:v>611121.5300061547</c:v>
                </c:pt>
                <c:pt idx="867">
                  <c:v>610337.8961772821</c:v>
                </c:pt>
                <c:pt idx="868">
                  <c:v>609555.4983135813</c:v>
                </c:pt>
                <c:pt idx="869">
                  <c:v>608774.3344319876</c:v>
                </c:pt>
                <c:pt idx="870">
                  <c:v>607994.4025508756</c:v>
                </c:pt>
                <c:pt idx="871">
                  <c:v>607215.7006901015</c:v>
                </c:pt>
                <c:pt idx="872">
                  <c:v>606438.2268710005</c:v>
                </c:pt>
                <c:pt idx="873">
                  <c:v>605661.9791164113</c:v>
                </c:pt>
                <c:pt idx="874">
                  <c:v>604886.955450682</c:v>
                </c:pt>
                <c:pt idx="875">
                  <c:v>604113.1538996972</c:v>
                </c:pt>
                <c:pt idx="876">
                  <c:v>603340.572490887</c:v>
                </c:pt>
                <c:pt idx="877">
                  <c:v>602569.2092532393</c:v>
                </c:pt>
                <c:pt idx="878">
                  <c:v>601799.0622173222</c:v>
                </c:pt>
                <c:pt idx="879">
                  <c:v>601030.129415295</c:v>
                </c:pt>
                <c:pt idx="880">
                  <c:v>600262.40888092</c:v>
                </c:pt>
                <c:pt idx="881">
                  <c:v>599495.8986495807</c:v>
                </c:pt>
                <c:pt idx="882">
                  <c:v>598730.5967582973</c:v>
                </c:pt>
                <c:pt idx="883">
                  <c:v>597966.5012457343</c:v>
                </c:pt>
                <c:pt idx="884">
                  <c:v>597203.61015222</c:v>
                </c:pt>
                <c:pt idx="885">
                  <c:v>596441.9215197616</c:v>
                </c:pt>
                <c:pt idx="886">
                  <c:v>595681.4333920522</c:v>
                </c:pt>
                <c:pt idx="887">
                  <c:v>594922.143814491</c:v>
                </c:pt>
                <c:pt idx="888">
                  <c:v>594164.0508341906</c:v>
                </c:pt>
                <c:pt idx="889">
                  <c:v>593407.1524999982</c:v>
                </c:pt>
                <c:pt idx="890">
                  <c:v>592651.446862497</c:v>
                </c:pt>
                <c:pt idx="891">
                  <c:v>591896.9319740335</c:v>
                </c:pt>
                <c:pt idx="892">
                  <c:v>591143.6058887135</c:v>
                </c:pt>
                <c:pt idx="893">
                  <c:v>590391.466662429</c:v>
                </c:pt>
                <c:pt idx="894">
                  <c:v>589640.5123528673</c:v>
                </c:pt>
                <c:pt idx="895">
                  <c:v>588890.741019514</c:v>
                </c:pt>
                <c:pt idx="896">
                  <c:v>588142.1507236775</c:v>
                </c:pt>
                <c:pt idx="897">
                  <c:v>587394.7395284937</c:v>
                </c:pt>
                <c:pt idx="898">
                  <c:v>586648.5054989436</c:v>
                </c:pt>
                <c:pt idx="899">
                  <c:v>585903.446701851</c:v>
                </c:pt>
                <c:pt idx="900">
                  <c:v>585159.5612059194</c:v>
                </c:pt>
                <c:pt idx="901">
                  <c:v>584416.8470817124</c:v>
                </c:pt>
                <c:pt idx="902">
                  <c:v>583675.3024016881</c:v>
                </c:pt>
                <c:pt idx="903">
                  <c:v>582934.9252402072</c:v>
                </c:pt>
                <c:pt idx="904">
                  <c:v>582195.7136735315</c:v>
                </c:pt>
                <c:pt idx="905">
                  <c:v>581457.6657798452</c:v>
                </c:pt>
                <c:pt idx="906">
                  <c:v>580720.7796392663</c:v>
                </c:pt>
                <c:pt idx="907">
                  <c:v>579985.053333853</c:v>
                </c:pt>
                <c:pt idx="908">
                  <c:v>579250.484947609</c:v>
                </c:pt>
                <c:pt idx="909">
                  <c:v>578517.072566511</c:v>
                </c:pt>
                <c:pt idx="910">
                  <c:v>577784.8142784969</c:v>
                </c:pt>
                <c:pt idx="911">
                  <c:v>577053.7081734969</c:v>
                </c:pt>
                <c:pt idx="912">
                  <c:v>576323.7523434273</c:v>
                </c:pt>
                <c:pt idx="913">
                  <c:v>575594.944882206</c:v>
                </c:pt>
                <c:pt idx="914">
                  <c:v>574867.2838857635</c:v>
                </c:pt>
                <c:pt idx="915">
                  <c:v>574140.7674520592</c:v>
                </c:pt>
                <c:pt idx="916">
                  <c:v>573415.3936810697</c:v>
                </c:pt>
                <c:pt idx="917">
                  <c:v>572691.160674821</c:v>
                </c:pt>
                <c:pt idx="918">
                  <c:v>571968.066537388</c:v>
                </c:pt>
                <c:pt idx="919">
                  <c:v>571246.1093748969</c:v>
                </c:pt>
                <c:pt idx="920">
                  <c:v>570525.2872955499</c:v>
                </c:pt>
                <c:pt idx="921">
                  <c:v>569805.5984096221</c:v>
                </c:pt>
                <c:pt idx="922">
                  <c:v>569087.0408294708</c:v>
                </c:pt>
                <c:pt idx="923">
                  <c:v>568369.6126695471</c:v>
                </c:pt>
                <c:pt idx="924">
                  <c:v>567653.31204641</c:v>
                </c:pt>
                <c:pt idx="925">
                  <c:v>566938.1370787203</c:v>
                </c:pt>
                <c:pt idx="926">
                  <c:v>566224.0858872622</c:v>
                </c:pt>
                <c:pt idx="927">
                  <c:v>565511.1565949474</c:v>
                </c:pt>
                <c:pt idx="928">
                  <c:v>564799.3473268195</c:v>
                </c:pt>
                <c:pt idx="929">
                  <c:v>564088.6562100653</c:v>
                </c:pt>
                <c:pt idx="930">
                  <c:v>563379.0813740279</c:v>
                </c:pt>
                <c:pt idx="931">
                  <c:v>562670.6209501955</c:v>
                </c:pt>
                <c:pt idx="932">
                  <c:v>561963.2730722339</c:v>
                </c:pt>
                <c:pt idx="933">
                  <c:v>561257.035875979</c:v>
                </c:pt>
                <c:pt idx="934">
                  <c:v>560551.907499447</c:v>
                </c:pt>
                <c:pt idx="935">
                  <c:v>559847.8860828394</c:v>
                </c:pt>
                <c:pt idx="936">
                  <c:v>559144.9697685569</c:v>
                </c:pt>
                <c:pt idx="937">
                  <c:v>558443.156701202</c:v>
                </c:pt>
                <c:pt idx="938">
                  <c:v>557742.4450275804</c:v>
                </c:pt>
                <c:pt idx="939">
                  <c:v>557042.8328967244</c:v>
                </c:pt>
                <c:pt idx="940">
                  <c:v>556344.3184598804</c:v>
                </c:pt>
                <c:pt idx="941">
                  <c:v>555646.8998705285</c:v>
                </c:pt>
                <c:pt idx="942">
                  <c:v>554950.5752843808</c:v>
                </c:pt>
                <c:pt idx="943">
                  <c:v>554255.3428594</c:v>
                </c:pt>
                <c:pt idx="944">
                  <c:v>553561.2007557893</c:v>
                </c:pt>
                <c:pt idx="945">
                  <c:v>552868.147136013</c:v>
                </c:pt>
                <c:pt idx="946">
                  <c:v>552176.1801647939</c:v>
                </c:pt>
                <c:pt idx="947">
                  <c:v>551485.2980091217</c:v>
                </c:pt>
                <c:pt idx="948">
                  <c:v>550795.4988382612</c:v>
                </c:pt>
                <c:pt idx="949">
                  <c:v>550106.780823759</c:v>
                </c:pt>
                <c:pt idx="950">
                  <c:v>549419.1421394418</c:v>
                </c:pt>
                <c:pt idx="951">
                  <c:v>548732.5809614323</c:v>
                </c:pt>
                <c:pt idx="952">
                  <c:v>548047.095468146</c:v>
                </c:pt>
                <c:pt idx="953">
                  <c:v>547362.6838403061</c:v>
                </c:pt>
                <c:pt idx="954">
                  <c:v>546679.344260937</c:v>
                </c:pt>
                <c:pt idx="955">
                  <c:v>545997.0749153778</c:v>
                </c:pt>
                <c:pt idx="956">
                  <c:v>545315.8739912888</c:v>
                </c:pt>
                <c:pt idx="957">
                  <c:v>544635.7396786537</c:v>
                </c:pt>
                <c:pt idx="958">
                  <c:v>543956.6701697822</c:v>
                </c:pt>
                <c:pt idx="959">
                  <c:v>543278.663659321</c:v>
                </c:pt>
                <c:pt idx="960">
                  <c:v>542601.7183442482</c:v>
                </c:pt>
                <c:pt idx="961">
                  <c:v>541925.832423897</c:v>
                </c:pt>
                <c:pt idx="962">
                  <c:v>541251.0040999381</c:v>
                </c:pt>
                <c:pt idx="963">
                  <c:v>540577.2315764035</c:v>
                </c:pt>
                <c:pt idx="964">
                  <c:v>539904.5130596741</c:v>
                </c:pt>
                <c:pt idx="965">
                  <c:v>539232.8467585054</c:v>
                </c:pt>
                <c:pt idx="966">
                  <c:v>538562.2308840055</c:v>
                </c:pt>
                <c:pt idx="967">
                  <c:v>537892.663649662</c:v>
                </c:pt>
                <c:pt idx="968">
                  <c:v>537224.1432713373</c:v>
                </c:pt>
                <c:pt idx="969">
                  <c:v>536556.6679672708</c:v>
                </c:pt>
                <c:pt idx="970">
                  <c:v>535890.2359580867</c:v>
                </c:pt>
                <c:pt idx="971">
                  <c:v>535224.845466798</c:v>
                </c:pt>
                <c:pt idx="972">
                  <c:v>534560.4947188032</c:v>
                </c:pt>
                <c:pt idx="973">
                  <c:v>533897.1819419109</c:v>
                </c:pt>
                <c:pt idx="974">
                  <c:v>533234.9053663127</c:v>
                </c:pt>
                <c:pt idx="975">
                  <c:v>532573.663224612</c:v>
                </c:pt>
                <c:pt idx="976">
                  <c:v>531913.453751817</c:v>
                </c:pt>
                <c:pt idx="977">
                  <c:v>531254.2751853493</c:v>
                </c:pt>
                <c:pt idx="978">
                  <c:v>530596.1257650396</c:v>
                </c:pt>
                <c:pt idx="979">
                  <c:v>529939.003733141</c:v>
                </c:pt>
                <c:pt idx="980">
                  <c:v>529282.9073343233</c:v>
                </c:pt>
                <c:pt idx="981">
                  <c:v>528627.8348156866</c:v>
                </c:pt>
                <c:pt idx="982">
                  <c:v>527973.7844267503</c:v>
                </c:pt>
                <c:pt idx="983">
                  <c:v>527320.7544194717</c:v>
                </c:pt>
                <c:pt idx="984">
                  <c:v>526668.7430482373</c:v>
                </c:pt>
                <c:pt idx="985">
                  <c:v>526017.7485698763</c:v>
                </c:pt>
                <c:pt idx="986">
                  <c:v>525367.7692436512</c:v>
                </c:pt>
                <c:pt idx="987">
                  <c:v>524718.8033312712</c:v>
                </c:pt>
                <c:pt idx="988">
                  <c:v>524070.8490968901</c:v>
                </c:pt>
                <c:pt idx="989">
                  <c:v>523423.9048071107</c:v>
                </c:pt>
                <c:pt idx="990">
                  <c:v>522777.9687309855</c:v>
                </c:pt>
                <c:pt idx="991">
                  <c:v>522133.0391400267</c:v>
                </c:pt>
                <c:pt idx="992">
                  <c:v>521489.1143081928</c:v>
                </c:pt>
                <c:pt idx="993">
                  <c:v>520846.1925119098</c:v>
                </c:pt>
                <c:pt idx="994">
                  <c:v>520204.2720300645</c:v>
                </c:pt>
                <c:pt idx="995">
                  <c:v>519563.3511440054</c:v>
                </c:pt>
                <c:pt idx="996">
                  <c:v>518923.4281375453</c:v>
                </c:pt>
                <c:pt idx="997">
                  <c:v>518284.5012969717</c:v>
                </c:pt>
                <c:pt idx="998">
                  <c:v>517646.5689110378</c:v>
                </c:pt>
                <c:pt idx="999">
                  <c:v>517009.6292709712</c:v>
                </c:pt>
                <c:pt idx="1000">
                  <c:v>516373.6806704761</c:v>
                </c:pt>
                <c:pt idx="1001">
                  <c:v>515738.7214057316</c:v>
                </c:pt>
                <c:pt idx="1002">
                  <c:v>515104.7497753981</c:v>
                </c:pt>
                <c:pt idx="1003">
                  <c:v>514471.7640806162</c:v>
                </c:pt>
                <c:pt idx="1004">
                  <c:v>513839.7626250105</c:v>
                </c:pt>
                <c:pt idx="1005">
                  <c:v>513208.7437146871</c:v>
                </c:pt>
                <c:pt idx="1006">
                  <c:v>512578.7056582443</c:v>
                </c:pt>
                <c:pt idx="1007">
                  <c:v>511949.6467667634</c:v>
                </c:pt>
                <c:pt idx="1008">
                  <c:v>511321.5653538195</c:v>
                </c:pt>
                <c:pt idx="1009">
                  <c:v>510694.4597354787</c:v>
                </c:pt>
                <c:pt idx="1010">
                  <c:v>510068.3282302977</c:v>
                </c:pt>
                <c:pt idx="1011">
                  <c:v>509443.1691593291</c:v>
                </c:pt>
                <c:pt idx="1012">
                  <c:v>508818.9808461248</c:v>
                </c:pt>
                <c:pt idx="1013">
                  <c:v>508195.76161673</c:v>
                </c:pt>
                <c:pt idx="1014">
                  <c:v>507573.5097996911</c:v>
                </c:pt>
                <c:pt idx="1015">
                  <c:v>506952.2237260532</c:v>
                </c:pt>
                <c:pt idx="1016">
                  <c:v>506331.9017293648</c:v>
                </c:pt>
                <c:pt idx="1017">
                  <c:v>505712.5421456743</c:v>
                </c:pt>
                <c:pt idx="1018">
                  <c:v>505094.1433135356</c:v>
                </c:pt>
                <c:pt idx="1019">
                  <c:v>504476.7035740093</c:v>
                </c:pt>
                <c:pt idx="1020">
                  <c:v>503860.2212706553</c:v>
                </c:pt>
                <c:pt idx="1021">
                  <c:v>503244.6947495472</c:v>
                </c:pt>
                <c:pt idx="1022">
                  <c:v>502630.1223592664</c:v>
                </c:pt>
                <c:pt idx="1023">
                  <c:v>502016.5024508963</c:v>
                </c:pt>
                <c:pt idx="1024">
                  <c:v>501403.8333780362</c:v>
                </c:pt>
                <c:pt idx="1025">
                  <c:v>500792.1134967917</c:v>
                </c:pt>
                <c:pt idx="1026">
                  <c:v>500181.3411657831</c:v>
                </c:pt>
                <c:pt idx="1027">
                  <c:v>499571.5147461391</c:v>
                </c:pt>
                <c:pt idx="1028">
                  <c:v>498962.6326015018</c:v>
                </c:pt>
                <c:pt idx="1029">
                  <c:v>498354.6930980291</c:v>
                </c:pt>
                <c:pt idx="1030">
                  <c:v>497747.6946043893</c:v>
                </c:pt>
                <c:pt idx="1031">
                  <c:v>497141.6354917668</c:v>
                </c:pt>
                <c:pt idx="1032">
                  <c:v>496536.5141338571</c:v>
                </c:pt>
                <c:pt idx="1033">
                  <c:v>495932.3289068756</c:v>
                </c:pt>
                <c:pt idx="1034">
                  <c:v>495329.07818955</c:v>
                </c:pt>
                <c:pt idx="1035">
                  <c:v>494726.760363126</c:v>
                </c:pt>
                <c:pt idx="1036">
                  <c:v>494125.3738113618</c:v>
                </c:pt>
                <c:pt idx="1037">
                  <c:v>493524.9169205365</c:v>
                </c:pt>
                <c:pt idx="1038">
                  <c:v>492925.3880794428</c:v>
                </c:pt>
                <c:pt idx="1039">
                  <c:v>492326.7856793928</c:v>
                </c:pt>
                <c:pt idx="1040">
                  <c:v>491729.1081142101</c:v>
                </c:pt>
                <c:pt idx="1041">
                  <c:v>491132.3537802419</c:v>
                </c:pt>
                <c:pt idx="1042">
                  <c:v>490536.5210763493</c:v>
                </c:pt>
                <c:pt idx="1043">
                  <c:v>489941.6084039096</c:v>
                </c:pt>
                <c:pt idx="1044">
                  <c:v>489347.61416682</c:v>
                </c:pt>
                <c:pt idx="1045">
                  <c:v>488754.5367714938</c:v>
                </c:pt>
                <c:pt idx="1046">
                  <c:v>488162.3746268608</c:v>
                </c:pt>
                <c:pt idx="1047">
                  <c:v>487571.1261443647</c:v>
                </c:pt>
                <c:pt idx="1048">
                  <c:v>486980.7897379708</c:v>
                </c:pt>
                <c:pt idx="1049">
                  <c:v>486391.3638241578</c:v>
                </c:pt>
                <c:pt idx="1050">
                  <c:v>485802.846821924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076C-44B2-BCA4-528EF36D97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1477188544"/>
        <c:axId val="-1477209440"/>
      </c:scatterChart>
      <c:valAx>
        <c:axId val="-14771885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hu-HU" b="1"/>
                  <a:t>mennyiség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hu-HU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-1477209440"/>
        <c:crosses val="autoZero"/>
        <c:crossBetween val="midCat"/>
      </c:valAx>
      <c:valAx>
        <c:axId val="-147720944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hu-HU" b="1"/>
                  <a:t>forgalom, margin (eFt)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hu-HU"/>
            </a:p>
          </c:txPr>
        </c:title>
        <c:numFmt formatCode="_-* #\ ##0\ _F_t_-;\-* #\ ##0\ _F_t_-;_-* &quot;-&quot;??\ _F_t_-;_-@_-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shade val="95000"/>
                <a:satMod val="10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-1477188544"/>
        <c:crosses val="autoZero"/>
        <c:crossBetween val="midCat"/>
        <c:dispUnits>
          <c:builtInUnit val="thousands"/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hu-H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Roze!$M$1</c:f>
              <c:strCache>
                <c:ptCount val="1"/>
                <c:pt idx="0">
                  <c:v>MENNYISEG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8CC8"/>
              </a:solidFill>
              <a:ln w="9525">
                <a:solidFill>
                  <a:schemeClr val="tx1"/>
                </a:solidFill>
              </a:ln>
              <a:effectLst/>
            </c:spPr>
          </c:marker>
          <c:dPt>
            <c:idx val="16"/>
            <c:marker>
              <c:symbol val="circle"/>
              <c:size val="5"/>
              <c:spPr>
                <a:solidFill>
                  <a:srgbClr val="008CC8"/>
                </a:solidFill>
                <a:ln w="9525">
                  <a:solidFill>
                    <a:schemeClr val="tx1"/>
                  </a:solidFill>
                </a:ln>
                <a:effectLst/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5A0E-42E2-BD86-ECA92B5BE312}"/>
              </c:ext>
            </c:extLst>
          </c:dPt>
          <c:xVal>
            <c:numRef>
              <c:f>Roze!$M$2:$M$102</c:f>
              <c:numCache>
                <c:formatCode>0</c:formatCode>
                <c:ptCount val="101"/>
                <c:pt idx="0">
                  <c:v>135.0</c:v>
                </c:pt>
                <c:pt idx="1">
                  <c:v>137.0</c:v>
                </c:pt>
                <c:pt idx="2">
                  <c:v>112.0</c:v>
                </c:pt>
                <c:pt idx="3">
                  <c:v>281.0</c:v>
                </c:pt>
                <c:pt idx="4">
                  <c:v>134.0</c:v>
                </c:pt>
                <c:pt idx="5">
                  <c:v>71.0</c:v>
                </c:pt>
                <c:pt idx="6">
                  <c:v>103.0</c:v>
                </c:pt>
                <c:pt idx="7">
                  <c:v>86.0</c:v>
                </c:pt>
                <c:pt idx="8">
                  <c:v>104.0</c:v>
                </c:pt>
                <c:pt idx="9">
                  <c:v>170.0</c:v>
                </c:pt>
                <c:pt idx="10">
                  <c:v>106.0</c:v>
                </c:pt>
                <c:pt idx="11">
                  <c:v>143.0</c:v>
                </c:pt>
                <c:pt idx="12">
                  <c:v>277.0</c:v>
                </c:pt>
                <c:pt idx="13">
                  <c:v>112.0</c:v>
                </c:pt>
                <c:pt idx="14">
                  <c:v>225.0</c:v>
                </c:pt>
                <c:pt idx="15">
                  <c:v>287.0</c:v>
                </c:pt>
                <c:pt idx="16">
                  <c:v>370.0</c:v>
                </c:pt>
                <c:pt idx="17">
                  <c:v>310.0</c:v>
                </c:pt>
                <c:pt idx="18">
                  <c:v>346.0</c:v>
                </c:pt>
                <c:pt idx="19">
                  <c:v>319.0</c:v>
                </c:pt>
                <c:pt idx="20">
                  <c:v>845.0</c:v>
                </c:pt>
                <c:pt idx="21">
                  <c:v>1890.0</c:v>
                </c:pt>
                <c:pt idx="22">
                  <c:v>1710.0</c:v>
                </c:pt>
                <c:pt idx="23">
                  <c:v>2035.0</c:v>
                </c:pt>
                <c:pt idx="24">
                  <c:v>2508.0</c:v>
                </c:pt>
                <c:pt idx="25">
                  <c:v>1830.0</c:v>
                </c:pt>
                <c:pt idx="26">
                  <c:v>1564.0</c:v>
                </c:pt>
                <c:pt idx="27">
                  <c:v>1532.0</c:v>
                </c:pt>
                <c:pt idx="28">
                  <c:v>2002.0</c:v>
                </c:pt>
                <c:pt idx="29">
                  <c:v>422.0</c:v>
                </c:pt>
                <c:pt idx="30">
                  <c:v>573.0</c:v>
                </c:pt>
                <c:pt idx="31">
                  <c:v>410.0</c:v>
                </c:pt>
                <c:pt idx="32">
                  <c:v>378.0</c:v>
                </c:pt>
                <c:pt idx="33">
                  <c:v>413.0</c:v>
                </c:pt>
                <c:pt idx="34">
                  <c:v>559.0</c:v>
                </c:pt>
                <c:pt idx="35">
                  <c:v>703.0</c:v>
                </c:pt>
                <c:pt idx="36">
                  <c:v>696.0</c:v>
                </c:pt>
                <c:pt idx="37">
                  <c:v>1238.0</c:v>
                </c:pt>
                <c:pt idx="38">
                  <c:v>2580.0</c:v>
                </c:pt>
                <c:pt idx="39">
                  <c:v>2563.0</c:v>
                </c:pt>
                <c:pt idx="40">
                  <c:v>3879.0</c:v>
                </c:pt>
                <c:pt idx="41">
                  <c:v>3842.0</c:v>
                </c:pt>
                <c:pt idx="42">
                  <c:v>1977.0</c:v>
                </c:pt>
                <c:pt idx="43">
                  <c:v>1272.0</c:v>
                </c:pt>
                <c:pt idx="44">
                  <c:v>1284.0</c:v>
                </c:pt>
                <c:pt idx="45">
                  <c:v>592.0</c:v>
                </c:pt>
                <c:pt idx="46">
                  <c:v>4766.0</c:v>
                </c:pt>
                <c:pt idx="47">
                  <c:v>3126.0</c:v>
                </c:pt>
                <c:pt idx="48">
                  <c:v>3100.0</c:v>
                </c:pt>
                <c:pt idx="49">
                  <c:v>2281.0</c:v>
                </c:pt>
                <c:pt idx="50">
                  <c:v>944.0</c:v>
                </c:pt>
                <c:pt idx="51">
                  <c:v>633.0</c:v>
                </c:pt>
                <c:pt idx="52">
                  <c:v>763.0</c:v>
                </c:pt>
                <c:pt idx="53">
                  <c:v>552.0</c:v>
                </c:pt>
                <c:pt idx="54">
                  <c:v>557.0</c:v>
                </c:pt>
                <c:pt idx="55">
                  <c:v>1373.0</c:v>
                </c:pt>
                <c:pt idx="56">
                  <c:v>3330.0</c:v>
                </c:pt>
                <c:pt idx="57">
                  <c:v>3817.0</c:v>
                </c:pt>
                <c:pt idx="58">
                  <c:v>3961.0</c:v>
                </c:pt>
                <c:pt idx="59">
                  <c:v>4715.0</c:v>
                </c:pt>
                <c:pt idx="60">
                  <c:v>4276.0</c:v>
                </c:pt>
                <c:pt idx="61">
                  <c:v>4148.0</c:v>
                </c:pt>
                <c:pt idx="62">
                  <c:v>6874.0</c:v>
                </c:pt>
                <c:pt idx="63">
                  <c:v>3862.0</c:v>
                </c:pt>
                <c:pt idx="64">
                  <c:v>1627.0</c:v>
                </c:pt>
                <c:pt idx="65">
                  <c:v>2017.0</c:v>
                </c:pt>
                <c:pt idx="66">
                  <c:v>2293.0</c:v>
                </c:pt>
                <c:pt idx="67">
                  <c:v>2227.0</c:v>
                </c:pt>
                <c:pt idx="68">
                  <c:v>1684.0</c:v>
                </c:pt>
                <c:pt idx="69">
                  <c:v>754.0</c:v>
                </c:pt>
                <c:pt idx="70">
                  <c:v>687.0</c:v>
                </c:pt>
                <c:pt idx="71">
                  <c:v>688.0</c:v>
                </c:pt>
                <c:pt idx="72">
                  <c:v>1245.0</c:v>
                </c:pt>
                <c:pt idx="73">
                  <c:v>3279.0</c:v>
                </c:pt>
                <c:pt idx="74">
                  <c:v>1528.0</c:v>
                </c:pt>
                <c:pt idx="75">
                  <c:v>2637.0</c:v>
                </c:pt>
                <c:pt idx="76">
                  <c:v>3129.0</c:v>
                </c:pt>
                <c:pt idx="77">
                  <c:v>977.0</c:v>
                </c:pt>
                <c:pt idx="78">
                  <c:v>786.0</c:v>
                </c:pt>
                <c:pt idx="79">
                  <c:v>892.0</c:v>
                </c:pt>
                <c:pt idx="80">
                  <c:v>866.0</c:v>
                </c:pt>
                <c:pt idx="81">
                  <c:v>1786.0</c:v>
                </c:pt>
                <c:pt idx="82">
                  <c:v>3564.0</c:v>
                </c:pt>
                <c:pt idx="83">
                  <c:v>2731.0</c:v>
                </c:pt>
                <c:pt idx="84">
                  <c:v>2903.0</c:v>
                </c:pt>
                <c:pt idx="85">
                  <c:v>3216.0</c:v>
                </c:pt>
                <c:pt idx="86">
                  <c:v>1110.0</c:v>
                </c:pt>
                <c:pt idx="87">
                  <c:v>1198.0</c:v>
                </c:pt>
                <c:pt idx="88">
                  <c:v>1382.0</c:v>
                </c:pt>
                <c:pt idx="89">
                  <c:v>1637.0</c:v>
                </c:pt>
                <c:pt idx="90">
                  <c:v>5948.0</c:v>
                </c:pt>
                <c:pt idx="91">
                  <c:v>6435.0</c:v>
                </c:pt>
                <c:pt idx="92">
                  <c:v>6390.0</c:v>
                </c:pt>
                <c:pt idx="93">
                  <c:v>6565.0</c:v>
                </c:pt>
                <c:pt idx="94">
                  <c:v>4287.0</c:v>
                </c:pt>
                <c:pt idx="95">
                  <c:v>1106.0</c:v>
                </c:pt>
                <c:pt idx="96">
                  <c:v>1597.0</c:v>
                </c:pt>
                <c:pt idx="97">
                  <c:v>1509.0</c:v>
                </c:pt>
                <c:pt idx="98">
                  <c:v>1591.0</c:v>
                </c:pt>
                <c:pt idx="99">
                  <c:v>5865.0</c:v>
                </c:pt>
                <c:pt idx="100">
                  <c:v>4853.0</c:v>
                </c:pt>
              </c:numCache>
            </c:numRef>
          </c:xVal>
          <c:yVal>
            <c:numRef>
              <c:f>Roze!$N$2:$N$102</c:f>
              <c:numCache>
                <c:formatCode>0</c:formatCode>
                <c:ptCount val="101"/>
                <c:pt idx="0">
                  <c:v>1696.762962962963</c:v>
                </c:pt>
                <c:pt idx="1">
                  <c:v>1689.350364963504</c:v>
                </c:pt>
                <c:pt idx="2">
                  <c:v>1689.75</c:v>
                </c:pt>
                <c:pt idx="3">
                  <c:v>1692.341637010676</c:v>
                </c:pt>
                <c:pt idx="4">
                  <c:v>1695.94776119403</c:v>
                </c:pt>
                <c:pt idx="5">
                  <c:v>1459.422535211268</c:v>
                </c:pt>
                <c:pt idx="6">
                  <c:v>1130.106796116505</c:v>
                </c:pt>
                <c:pt idx="7">
                  <c:v>1130.813953488372</c:v>
                </c:pt>
                <c:pt idx="8">
                  <c:v>1018.48076923077</c:v>
                </c:pt>
                <c:pt idx="9">
                  <c:v>822.1117647058824</c:v>
                </c:pt>
                <c:pt idx="10">
                  <c:v>847.4433962264151</c:v>
                </c:pt>
                <c:pt idx="11">
                  <c:v>694.93006993007</c:v>
                </c:pt>
                <c:pt idx="12">
                  <c:v>503.4837545126345</c:v>
                </c:pt>
                <c:pt idx="13">
                  <c:v>1695.508928571428</c:v>
                </c:pt>
                <c:pt idx="14">
                  <c:v>1701.204444444444</c:v>
                </c:pt>
                <c:pt idx="15">
                  <c:v>1719.655052264808</c:v>
                </c:pt>
                <c:pt idx="16">
                  <c:v>1713.062162162162</c:v>
                </c:pt>
                <c:pt idx="17">
                  <c:v>1702.764516129032</c:v>
                </c:pt>
                <c:pt idx="18">
                  <c:v>1699.0</c:v>
                </c:pt>
                <c:pt idx="19">
                  <c:v>1696.824451410658</c:v>
                </c:pt>
                <c:pt idx="20">
                  <c:v>1131.39526627219</c:v>
                </c:pt>
                <c:pt idx="21">
                  <c:v>956.4349206349198</c:v>
                </c:pt>
                <c:pt idx="22">
                  <c:v>991.9649122807014</c:v>
                </c:pt>
                <c:pt idx="23">
                  <c:v>986.1832923832924</c:v>
                </c:pt>
                <c:pt idx="24">
                  <c:v>987.0833333333335</c:v>
                </c:pt>
                <c:pt idx="25">
                  <c:v>992.2043715847</c:v>
                </c:pt>
                <c:pt idx="26">
                  <c:v>990.0959079283888</c:v>
                </c:pt>
                <c:pt idx="27">
                  <c:v>986.3355091383812</c:v>
                </c:pt>
                <c:pt idx="28">
                  <c:v>905.4655344655337</c:v>
                </c:pt>
                <c:pt idx="29">
                  <c:v>1240.163507109005</c:v>
                </c:pt>
                <c:pt idx="30">
                  <c:v>1596.832460732984</c:v>
                </c:pt>
                <c:pt idx="31">
                  <c:v>1717.817073170732</c:v>
                </c:pt>
                <c:pt idx="32">
                  <c:v>1697.201058201058</c:v>
                </c:pt>
                <c:pt idx="33">
                  <c:v>1698.314769975787</c:v>
                </c:pt>
                <c:pt idx="34">
                  <c:v>1694.175313059034</c:v>
                </c:pt>
                <c:pt idx="35">
                  <c:v>1566.041251778094</c:v>
                </c:pt>
                <c:pt idx="36">
                  <c:v>1547.313218390804</c:v>
                </c:pt>
                <c:pt idx="37">
                  <c:v>1304.522617124394</c:v>
                </c:pt>
                <c:pt idx="38">
                  <c:v>994.294186046512</c:v>
                </c:pt>
                <c:pt idx="39">
                  <c:v>988.5068279360125</c:v>
                </c:pt>
                <c:pt idx="40">
                  <c:v>995.5516885795308</c:v>
                </c:pt>
                <c:pt idx="41">
                  <c:v>995.5715773034877</c:v>
                </c:pt>
                <c:pt idx="42">
                  <c:v>1172.60343955488</c:v>
                </c:pt>
                <c:pt idx="43">
                  <c:v>1540.46462264151</c:v>
                </c:pt>
                <c:pt idx="44">
                  <c:v>1543.669781931464</c:v>
                </c:pt>
                <c:pt idx="45">
                  <c:v>1518.692567567567</c:v>
                </c:pt>
                <c:pt idx="46">
                  <c:v>892.4565673520772</c:v>
                </c:pt>
                <c:pt idx="47">
                  <c:v>893.4744081893793</c:v>
                </c:pt>
                <c:pt idx="48">
                  <c:v>890.9009677419347</c:v>
                </c:pt>
                <c:pt idx="49">
                  <c:v>891.5181937746605</c:v>
                </c:pt>
                <c:pt idx="50">
                  <c:v>894.565677966102</c:v>
                </c:pt>
                <c:pt idx="51">
                  <c:v>1548.429699842022</c:v>
                </c:pt>
                <c:pt idx="52">
                  <c:v>1427.92267365662</c:v>
                </c:pt>
                <c:pt idx="53">
                  <c:v>1545.353260869565</c:v>
                </c:pt>
                <c:pt idx="54">
                  <c:v>1541.800718132855</c:v>
                </c:pt>
                <c:pt idx="55">
                  <c:v>1066.685360524399</c:v>
                </c:pt>
                <c:pt idx="56">
                  <c:v>894.6594594594594</c:v>
                </c:pt>
                <c:pt idx="57">
                  <c:v>893.8821063662563</c:v>
                </c:pt>
                <c:pt idx="58">
                  <c:v>893.8336278717481</c:v>
                </c:pt>
                <c:pt idx="59">
                  <c:v>884.619512195122</c:v>
                </c:pt>
                <c:pt idx="60">
                  <c:v>884.136342376053</c:v>
                </c:pt>
                <c:pt idx="61">
                  <c:v>885.7232401157179</c:v>
                </c:pt>
                <c:pt idx="62">
                  <c:v>890.3533604887979</c:v>
                </c:pt>
                <c:pt idx="63">
                  <c:v>888.193940963232</c:v>
                </c:pt>
                <c:pt idx="64">
                  <c:v>947.0393362015981</c:v>
                </c:pt>
                <c:pt idx="65">
                  <c:v>990.3321764997511</c:v>
                </c:pt>
                <c:pt idx="66">
                  <c:v>989.6506759703445</c:v>
                </c:pt>
                <c:pt idx="67">
                  <c:v>991.5922766052984</c:v>
                </c:pt>
                <c:pt idx="68">
                  <c:v>1057.890142517814</c:v>
                </c:pt>
                <c:pt idx="69">
                  <c:v>1543.163129973474</c:v>
                </c:pt>
                <c:pt idx="70">
                  <c:v>1543.561863173217</c:v>
                </c:pt>
                <c:pt idx="71">
                  <c:v>1545.936046511628</c:v>
                </c:pt>
                <c:pt idx="72">
                  <c:v>1239.924497991968</c:v>
                </c:pt>
                <c:pt idx="73">
                  <c:v>990.0436108569684</c:v>
                </c:pt>
                <c:pt idx="74">
                  <c:v>983.408376963351</c:v>
                </c:pt>
                <c:pt idx="75">
                  <c:v>983.71103526735</c:v>
                </c:pt>
                <c:pt idx="76">
                  <c:v>990.743368488335</c:v>
                </c:pt>
                <c:pt idx="77">
                  <c:v>1370.066530194473</c:v>
                </c:pt>
                <c:pt idx="78">
                  <c:v>1542.077608142494</c:v>
                </c:pt>
                <c:pt idx="79">
                  <c:v>1544.008968609865</c:v>
                </c:pt>
                <c:pt idx="80">
                  <c:v>1545.512702078522</c:v>
                </c:pt>
                <c:pt idx="81">
                  <c:v>1189.30235162374</c:v>
                </c:pt>
                <c:pt idx="82">
                  <c:v>988.1551627384961</c:v>
                </c:pt>
                <c:pt idx="83">
                  <c:v>989.429146832662</c:v>
                </c:pt>
                <c:pt idx="84">
                  <c:v>994.2728212194281</c:v>
                </c:pt>
                <c:pt idx="85">
                  <c:v>1017.370957711443</c:v>
                </c:pt>
                <c:pt idx="86">
                  <c:v>1554.5</c:v>
                </c:pt>
                <c:pt idx="87">
                  <c:v>1542.392320534223</c:v>
                </c:pt>
                <c:pt idx="88">
                  <c:v>1542.310419681621</c:v>
                </c:pt>
                <c:pt idx="89">
                  <c:v>1544.774587660354</c:v>
                </c:pt>
                <c:pt idx="90">
                  <c:v>923.8382649630128</c:v>
                </c:pt>
                <c:pt idx="91">
                  <c:v>891.338772338773</c:v>
                </c:pt>
                <c:pt idx="92">
                  <c:v>894.244131455399</c:v>
                </c:pt>
                <c:pt idx="93">
                  <c:v>897.2042650418888</c:v>
                </c:pt>
                <c:pt idx="94">
                  <c:v>952.5950548168882</c:v>
                </c:pt>
                <c:pt idx="95">
                  <c:v>1545.175406871609</c:v>
                </c:pt>
                <c:pt idx="96">
                  <c:v>1507.103318722605</c:v>
                </c:pt>
                <c:pt idx="97">
                  <c:v>1395.919814446654</c:v>
                </c:pt>
                <c:pt idx="98">
                  <c:v>1397.736643620365</c:v>
                </c:pt>
                <c:pt idx="99">
                  <c:v>892.8052855924974</c:v>
                </c:pt>
                <c:pt idx="100">
                  <c:v>889.0560478054797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5A0E-42E2-BD86-ECA92B5BE3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1477390624"/>
        <c:axId val="-1477401888"/>
      </c:scatterChart>
      <c:scatterChart>
        <c:scatterStyle val="smoothMarker"/>
        <c:varyColors val="0"/>
        <c:ser>
          <c:idx val="1"/>
          <c:order val="1"/>
          <c:tx>
            <c:strRef>
              <c:f>Roze!$O$1</c:f>
              <c:strCache>
                <c:ptCount val="1"/>
                <c:pt idx="0">
                  <c:v>Beszerzési ár</c:v>
                </c:pt>
              </c:strCache>
            </c:strRef>
          </c:tx>
          <c:spPr>
            <a:ln w="19050" cap="rnd">
              <a:solidFill>
                <a:schemeClr val="bg2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Roze!$M$2:$M$102</c:f>
              <c:numCache>
                <c:formatCode>0</c:formatCode>
                <c:ptCount val="101"/>
                <c:pt idx="0">
                  <c:v>135.0</c:v>
                </c:pt>
                <c:pt idx="1">
                  <c:v>137.0</c:v>
                </c:pt>
                <c:pt idx="2">
                  <c:v>112.0</c:v>
                </c:pt>
                <c:pt idx="3">
                  <c:v>281.0</c:v>
                </c:pt>
                <c:pt idx="4">
                  <c:v>134.0</c:v>
                </c:pt>
                <c:pt idx="5">
                  <c:v>71.0</c:v>
                </c:pt>
                <c:pt idx="6">
                  <c:v>103.0</c:v>
                </c:pt>
                <c:pt idx="7">
                  <c:v>86.0</c:v>
                </c:pt>
                <c:pt idx="8">
                  <c:v>104.0</c:v>
                </c:pt>
                <c:pt idx="9">
                  <c:v>170.0</c:v>
                </c:pt>
                <c:pt idx="10">
                  <c:v>106.0</c:v>
                </c:pt>
                <c:pt idx="11">
                  <c:v>143.0</c:v>
                </c:pt>
                <c:pt idx="12">
                  <c:v>277.0</c:v>
                </c:pt>
                <c:pt idx="13">
                  <c:v>112.0</c:v>
                </c:pt>
                <c:pt idx="14">
                  <c:v>225.0</c:v>
                </c:pt>
                <c:pt idx="15">
                  <c:v>287.0</c:v>
                </c:pt>
                <c:pt idx="16">
                  <c:v>370.0</c:v>
                </c:pt>
                <c:pt idx="17">
                  <c:v>310.0</c:v>
                </c:pt>
                <c:pt idx="18">
                  <c:v>346.0</c:v>
                </c:pt>
                <c:pt idx="19">
                  <c:v>319.0</c:v>
                </c:pt>
                <c:pt idx="20">
                  <c:v>845.0</c:v>
                </c:pt>
                <c:pt idx="21">
                  <c:v>1890.0</c:v>
                </c:pt>
                <c:pt idx="22">
                  <c:v>1710.0</c:v>
                </c:pt>
                <c:pt idx="23">
                  <c:v>2035.0</c:v>
                </c:pt>
                <c:pt idx="24">
                  <c:v>2508.0</c:v>
                </c:pt>
                <c:pt idx="25">
                  <c:v>1830.0</c:v>
                </c:pt>
                <c:pt idx="26">
                  <c:v>1564.0</c:v>
                </c:pt>
                <c:pt idx="27">
                  <c:v>1532.0</c:v>
                </c:pt>
                <c:pt idx="28">
                  <c:v>2002.0</c:v>
                </c:pt>
                <c:pt idx="29">
                  <c:v>422.0</c:v>
                </c:pt>
                <c:pt idx="30">
                  <c:v>573.0</c:v>
                </c:pt>
                <c:pt idx="31">
                  <c:v>410.0</c:v>
                </c:pt>
                <c:pt idx="32">
                  <c:v>378.0</c:v>
                </c:pt>
                <c:pt idx="33">
                  <c:v>413.0</c:v>
                </c:pt>
                <c:pt idx="34">
                  <c:v>559.0</c:v>
                </c:pt>
                <c:pt idx="35">
                  <c:v>703.0</c:v>
                </c:pt>
                <c:pt idx="36">
                  <c:v>696.0</c:v>
                </c:pt>
                <c:pt idx="37">
                  <c:v>1238.0</c:v>
                </c:pt>
                <c:pt idx="38">
                  <c:v>2580.0</c:v>
                </c:pt>
                <c:pt idx="39">
                  <c:v>2563.0</c:v>
                </c:pt>
                <c:pt idx="40">
                  <c:v>3879.0</c:v>
                </c:pt>
                <c:pt idx="41">
                  <c:v>3842.0</c:v>
                </c:pt>
                <c:pt idx="42">
                  <c:v>1977.0</c:v>
                </c:pt>
                <c:pt idx="43">
                  <c:v>1272.0</c:v>
                </c:pt>
                <c:pt idx="44">
                  <c:v>1284.0</c:v>
                </c:pt>
                <c:pt idx="45">
                  <c:v>592.0</c:v>
                </c:pt>
                <c:pt idx="46">
                  <c:v>4766.0</c:v>
                </c:pt>
                <c:pt idx="47">
                  <c:v>3126.0</c:v>
                </c:pt>
                <c:pt idx="48">
                  <c:v>3100.0</c:v>
                </c:pt>
                <c:pt idx="49">
                  <c:v>2281.0</c:v>
                </c:pt>
                <c:pt idx="50">
                  <c:v>944.0</c:v>
                </c:pt>
                <c:pt idx="51">
                  <c:v>633.0</c:v>
                </c:pt>
                <c:pt idx="52">
                  <c:v>763.0</c:v>
                </c:pt>
                <c:pt idx="53">
                  <c:v>552.0</c:v>
                </c:pt>
                <c:pt idx="54">
                  <c:v>557.0</c:v>
                </c:pt>
                <c:pt idx="55">
                  <c:v>1373.0</c:v>
                </c:pt>
                <c:pt idx="56">
                  <c:v>3330.0</c:v>
                </c:pt>
                <c:pt idx="57">
                  <c:v>3817.0</c:v>
                </c:pt>
                <c:pt idx="58">
                  <c:v>3961.0</c:v>
                </c:pt>
                <c:pt idx="59">
                  <c:v>4715.0</c:v>
                </c:pt>
                <c:pt idx="60">
                  <c:v>4276.0</c:v>
                </c:pt>
                <c:pt idx="61">
                  <c:v>4148.0</c:v>
                </c:pt>
                <c:pt idx="62">
                  <c:v>6874.0</c:v>
                </c:pt>
                <c:pt idx="63">
                  <c:v>3862.0</c:v>
                </c:pt>
                <c:pt idx="64">
                  <c:v>1627.0</c:v>
                </c:pt>
                <c:pt idx="65">
                  <c:v>2017.0</c:v>
                </c:pt>
                <c:pt idx="66">
                  <c:v>2293.0</c:v>
                </c:pt>
                <c:pt idx="67">
                  <c:v>2227.0</c:v>
                </c:pt>
                <c:pt idx="68">
                  <c:v>1684.0</c:v>
                </c:pt>
                <c:pt idx="69">
                  <c:v>754.0</c:v>
                </c:pt>
                <c:pt idx="70">
                  <c:v>687.0</c:v>
                </c:pt>
                <c:pt idx="71">
                  <c:v>688.0</c:v>
                </c:pt>
                <c:pt idx="72">
                  <c:v>1245.0</c:v>
                </c:pt>
                <c:pt idx="73">
                  <c:v>3279.0</c:v>
                </c:pt>
                <c:pt idx="74">
                  <c:v>1528.0</c:v>
                </c:pt>
                <c:pt idx="75">
                  <c:v>2637.0</c:v>
                </c:pt>
                <c:pt idx="76">
                  <c:v>3129.0</c:v>
                </c:pt>
                <c:pt idx="77">
                  <c:v>977.0</c:v>
                </c:pt>
                <c:pt idx="78">
                  <c:v>786.0</c:v>
                </c:pt>
                <c:pt idx="79">
                  <c:v>892.0</c:v>
                </c:pt>
                <c:pt idx="80">
                  <c:v>866.0</c:v>
                </c:pt>
                <c:pt idx="81">
                  <c:v>1786.0</c:v>
                </c:pt>
                <c:pt idx="82">
                  <c:v>3564.0</c:v>
                </c:pt>
                <c:pt idx="83">
                  <c:v>2731.0</c:v>
                </c:pt>
                <c:pt idx="84">
                  <c:v>2903.0</c:v>
                </c:pt>
                <c:pt idx="85">
                  <c:v>3216.0</c:v>
                </c:pt>
                <c:pt idx="86">
                  <c:v>1110.0</c:v>
                </c:pt>
                <c:pt idx="87">
                  <c:v>1198.0</c:v>
                </c:pt>
                <c:pt idx="88">
                  <c:v>1382.0</c:v>
                </c:pt>
                <c:pt idx="89">
                  <c:v>1637.0</c:v>
                </c:pt>
                <c:pt idx="90">
                  <c:v>5948.0</c:v>
                </c:pt>
                <c:pt idx="91">
                  <c:v>6435.0</c:v>
                </c:pt>
                <c:pt idx="92">
                  <c:v>6390.0</c:v>
                </c:pt>
                <c:pt idx="93">
                  <c:v>6565.0</c:v>
                </c:pt>
                <c:pt idx="94">
                  <c:v>4287.0</c:v>
                </c:pt>
                <c:pt idx="95">
                  <c:v>1106.0</c:v>
                </c:pt>
                <c:pt idx="96">
                  <c:v>1597.0</c:v>
                </c:pt>
                <c:pt idx="97">
                  <c:v>1509.0</c:v>
                </c:pt>
                <c:pt idx="98">
                  <c:v>1591.0</c:v>
                </c:pt>
                <c:pt idx="99">
                  <c:v>5865.0</c:v>
                </c:pt>
                <c:pt idx="100">
                  <c:v>4853.0</c:v>
                </c:pt>
              </c:numCache>
            </c:numRef>
          </c:xVal>
          <c:yVal>
            <c:numRef>
              <c:f>Roze!$O$2:$O$102</c:f>
              <c:numCache>
                <c:formatCode>_-* #,##0\ _F_t_-;\-* #,##0\ _F_t_-;_-* "-"??\ _F_t_-;_-@_-</c:formatCode>
                <c:ptCount val="101"/>
                <c:pt idx="0">
                  <c:v>660.0</c:v>
                </c:pt>
                <c:pt idx="1">
                  <c:v>660.0</c:v>
                </c:pt>
                <c:pt idx="2">
                  <c:v>660.0</c:v>
                </c:pt>
                <c:pt idx="3">
                  <c:v>660.0</c:v>
                </c:pt>
                <c:pt idx="4">
                  <c:v>660.0</c:v>
                </c:pt>
                <c:pt idx="5">
                  <c:v>660.0</c:v>
                </c:pt>
                <c:pt idx="6">
                  <c:v>660.0</c:v>
                </c:pt>
                <c:pt idx="7">
                  <c:v>660.0</c:v>
                </c:pt>
                <c:pt idx="8">
                  <c:v>660.0</c:v>
                </c:pt>
                <c:pt idx="9">
                  <c:v>660.0</c:v>
                </c:pt>
                <c:pt idx="10">
                  <c:v>660.0</c:v>
                </c:pt>
                <c:pt idx="11">
                  <c:v>660.0</c:v>
                </c:pt>
                <c:pt idx="12">
                  <c:v>660.0</c:v>
                </c:pt>
                <c:pt idx="13">
                  <c:v>660.0</c:v>
                </c:pt>
                <c:pt idx="14">
                  <c:v>660.0</c:v>
                </c:pt>
                <c:pt idx="15">
                  <c:v>660.0</c:v>
                </c:pt>
                <c:pt idx="16">
                  <c:v>660.0</c:v>
                </c:pt>
                <c:pt idx="17">
                  <c:v>660.0</c:v>
                </c:pt>
                <c:pt idx="18">
                  <c:v>660.0</c:v>
                </c:pt>
                <c:pt idx="19">
                  <c:v>660.0</c:v>
                </c:pt>
                <c:pt idx="20">
                  <c:v>660.0</c:v>
                </c:pt>
                <c:pt idx="21">
                  <c:v>660.0</c:v>
                </c:pt>
                <c:pt idx="22">
                  <c:v>660.0</c:v>
                </c:pt>
                <c:pt idx="23">
                  <c:v>660.0</c:v>
                </c:pt>
                <c:pt idx="24">
                  <c:v>660.0</c:v>
                </c:pt>
                <c:pt idx="25">
                  <c:v>660.0</c:v>
                </c:pt>
                <c:pt idx="26">
                  <c:v>660.0</c:v>
                </c:pt>
                <c:pt idx="27">
                  <c:v>660.0</c:v>
                </c:pt>
                <c:pt idx="28">
                  <c:v>660.0</c:v>
                </c:pt>
                <c:pt idx="29">
                  <c:v>660.0</c:v>
                </c:pt>
                <c:pt idx="30">
                  <c:v>660.0</c:v>
                </c:pt>
                <c:pt idx="31">
                  <c:v>660.0</c:v>
                </c:pt>
                <c:pt idx="32">
                  <c:v>660.0</c:v>
                </c:pt>
                <c:pt idx="33">
                  <c:v>660.0</c:v>
                </c:pt>
                <c:pt idx="34">
                  <c:v>660.0</c:v>
                </c:pt>
                <c:pt idx="35">
                  <c:v>660.0</c:v>
                </c:pt>
                <c:pt idx="36">
                  <c:v>660.0</c:v>
                </c:pt>
                <c:pt idx="37">
                  <c:v>660.0</c:v>
                </c:pt>
                <c:pt idx="38">
                  <c:v>660.0</c:v>
                </c:pt>
                <c:pt idx="39">
                  <c:v>660.0</c:v>
                </c:pt>
                <c:pt idx="40">
                  <c:v>660.0</c:v>
                </c:pt>
                <c:pt idx="41">
                  <c:v>660.0</c:v>
                </c:pt>
                <c:pt idx="42">
                  <c:v>660.0</c:v>
                </c:pt>
                <c:pt idx="43">
                  <c:v>660.0</c:v>
                </c:pt>
                <c:pt idx="44">
                  <c:v>660.0</c:v>
                </c:pt>
                <c:pt idx="45">
                  <c:v>660.0</c:v>
                </c:pt>
                <c:pt idx="46">
                  <c:v>660.0</c:v>
                </c:pt>
                <c:pt idx="47">
                  <c:v>660.0</c:v>
                </c:pt>
                <c:pt idx="48">
                  <c:v>660.0</c:v>
                </c:pt>
                <c:pt idx="49">
                  <c:v>660.0</c:v>
                </c:pt>
                <c:pt idx="50">
                  <c:v>660.0</c:v>
                </c:pt>
                <c:pt idx="51">
                  <c:v>660.0</c:v>
                </c:pt>
                <c:pt idx="52">
                  <c:v>660.0</c:v>
                </c:pt>
                <c:pt idx="53">
                  <c:v>660.0</c:v>
                </c:pt>
                <c:pt idx="54">
                  <c:v>660.0</c:v>
                </c:pt>
                <c:pt idx="55">
                  <c:v>660.0</c:v>
                </c:pt>
                <c:pt idx="56">
                  <c:v>660.0</c:v>
                </c:pt>
                <c:pt idx="57">
                  <c:v>660.0</c:v>
                </c:pt>
                <c:pt idx="58">
                  <c:v>660.0</c:v>
                </c:pt>
                <c:pt idx="59">
                  <c:v>660.0</c:v>
                </c:pt>
                <c:pt idx="60">
                  <c:v>660.0</c:v>
                </c:pt>
                <c:pt idx="61">
                  <c:v>660.0</c:v>
                </c:pt>
                <c:pt idx="62">
                  <c:v>660.0</c:v>
                </c:pt>
                <c:pt idx="63">
                  <c:v>660.0</c:v>
                </c:pt>
                <c:pt idx="64">
                  <c:v>660.0</c:v>
                </c:pt>
                <c:pt idx="65">
                  <c:v>660.0</c:v>
                </c:pt>
                <c:pt idx="66">
                  <c:v>660.0</c:v>
                </c:pt>
                <c:pt idx="67">
                  <c:v>660.0</c:v>
                </c:pt>
                <c:pt idx="68">
                  <c:v>660.0</c:v>
                </c:pt>
                <c:pt idx="69">
                  <c:v>660.0</c:v>
                </c:pt>
                <c:pt idx="70">
                  <c:v>660.0</c:v>
                </c:pt>
                <c:pt idx="71">
                  <c:v>660.0</c:v>
                </c:pt>
                <c:pt idx="72">
                  <c:v>660.0</c:v>
                </c:pt>
                <c:pt idx="73">
                  <c:v>660.0</c:v>
                </c:pt>
                <c:pt idx="74">
                  <c:v>660.0</c:v>
                </c:pt>
                <c:pt idx="75">
                  <c:v>660.0</c:v>
                </c:pt>
                <c:pt idx="76">
                  <c:v>660.0</c:v>
                </c:pt>
                <c:pt idx="77">
                  <c:v>660.0</c:v>
                </c:pt>
                <c:pt idx="78">
                  <c:v>660.0</c:v>
                </c:pt>
                <c:pt idx="79">
                  <c:v>660.0</c:v>
                </c:pt>
                <c:pt idx="80">
                  <c:v>660.0</c:v>
                </c:pt>
                <c:pt idx="81">
                  <c:v>660.0</c:v>
                </c:pt>
                <c:pt idx="82">
                  <c:v>660.0</c:v>
                </c:pt>
                <c:pt idx="83">
                  <c:v>660.0</c:v>
                </c:pt>
                <c:pt idx="84">
                  <c:v>660.0</c:v>
                </c:pt>
                <c:pt idx="85">
                  <c:v>660.0</c:v>
                </c:pt>
                <c:pt idx="86">
                  <c:v>660.0</c:v>
                </c:pt>
                <c:pt idx="87">
                  <c:v>660.0</c:v>
                </c:pt>
                <c:pt idx="88">
                  <c:v>660.0</c:v>
                </c:pt>
                <c:pt idx="89">
                  <c:v>660.0</c:v>
                </c:pt>
                <c:pt idx="90">
                  <c:v>660.0</c:v>
                </c:pt>
                <c:pt idx="91">
                  <c:v>660.0</c:v>
                </c:pt>
                <c:pt idx="92">
                  <c:v>660.0</c:v>
                </c:pt>
                <c:pt idx="93">
                  <c:v>660.0</c:v>
                </c:pt>
                <c:pt idx="94">
                  <c:v>660.0</c:v>
                </c:pt>
                <c:pt idx="95">
                  <c:v>660.0</c:v>
                </c:pt>
                <c:pt idx="96">
                  <c:v>660.0</c:v>
                </c:pt>
                <c:pt idx="97">
                  <c:v>660.0</c:v>
                </c:pt>
                <c:pt idx="98">
                  <c:v>660.0</c:v>
                </c:pt>
                <c:pt idx="99">
                  <c:v>660.0</c:v>
                </c:pt>
                <c:pt idx="100">
                  <c:v>660.0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2-5A0E-42E2-BD86-ECA92B5BE312}"/>
            </c:ext>
          </c:extLst>
        </c:ser>
        <c:ser>
          <c:idx val="2"/>
          <c:order val="2"/>
          <c:tx>
            <c:strRef>
              <c:f>Roze!$H$1</c:f>
              <c:strCache>
                <c:ptCount val="1"/>
                <c:pt idx="0">
                  <c:v>mennyiseg_modellezett</c:v>
                </c:pt>
              </c:strCache>
            </c:strRef>
          </c:tx>
          <c:spPr>
            <a:ln w="19050" cap="rnd">
              <a:solidFill>
                <a:schemeClr val="accent1">
                  <a:lumMod val="50000"/>
                </a:schemeClr>
              </a:solidFill>
              <a:prstDash val="solid"/>
              <a:round/>
            </a:ln>
            <a:effectLst/>
          </c:spPr>
          <c:marker>
            <c:symbol val="none"/>
          </c:marker>
          <c:xVal>
            <c:numRef>
              <c:f>Roze!$H$2:$H$1052</c:f>
              <c:numCache>
                <c:formatCode>_-* #,##0.0\ _F_t_-;\-* #,##0.0\ _F_t_-;_-* "-"??\ _F_t_-;_-@_-</c:formatCode>
                <c:ptCount val="1051"/>
                <c:pt idx="0">
                  <c:v>9823.23451752266</c:v>
                </c:pt>
                <c:pt idx="1">
                  <c:v>9776.786563963209</c:v>
                </c:pt>
                <c:pt idx="2">
                  <c:v>9730.615774704365</c:v>
                </c:pt>
                <c:pt idx="3">
                  <c:v>9684.720153346714</c:v>
                </c:pt>
                <c:pt idx="4">
                  <c:v>9639.09772033184</c:v>
                </c:pt>
                <c:pt idx="5">
                  <c:v>9593.746512779374</c:v>
                </c:pt>
                <c:pt idx="6">
                  <c:v>9548.664584326075</c:v>
                </c:pt>
                <c:pt idx="7">
                  <c:v>9503.850004966505</c:v>
                </c:pt>
                <c:pt idx="8">
                  <c:v>9459.30086089569</c:v>
                </c:pt>
                <c:pt idx="9">
                  <c:v>9415.015254352978</c:v>
                </c:pt>
                <c:pt idx="10">
                  <c:v>9370.991303468241</c:v>
                </c:pt>
                <c:pt idx="11">
                  <c:v>9327.22714210938</c:v>
                </c:pt>
                <c:pt idx="12">
                  <c:v>9283.720919731295</c:v>
                </c:pt>
                <c:pt idx="13">
                  <c:v>9240.470801226953</c:v>
                </c:pt>
                <c:pt idx="14">
                  <c:v>9197.47496677973</c:v>
                </c:pt>
                <c:pt idx="15">
                  <c:v>9154.731611717414</c:v>
                </c:pt>
                <c:pt idx="16">
                  <c:v>9112.238946367942</c:v>
                </c:pt>
                <c:pt idx="17">
                  <c:v>9069.995195916223</c:v>
                </c:pt>
                <c:pt idx="18">
                  <c:v>9027.998600263258</c:v>
                </c:pt>
                <c:pt idx="19">
                  <c:v>8986.247413885928</c:v>
                </c:pt>
                <c:pt idx="20">
                  <c:v>8944.739905699003</c:v>
                </c:pt>
                <c:pt idx="21">
                  <c:v>8903.474358918068</c:v>
                </c:pt>
                <c:pt idx="22">
                  <c:v>8862.449070924267</c:v>
                </c:pt>
                <c:pt idx="23">
                  <c:v>8821.662353130466</c:v>
                </c:pt>
                <c:pt idx="24">
                  <c:v>8781.112530848573</c:v>
                </c:pt>
                <c:pt idx="25">
                  <c:v>8740.797943158637</c:v>
                </c:pt>
                <c:pt idx="26">
                  <c:v>8700.71694277887</c:v>
                </c:pt>
                <c:pt idx="27">
                  <c:v>8660.867895937688</c:v>
                </c:pt>
                <c:pt idx="28">
                  <c:v>8621.24918224661</c:v>
                </c:pt>
                <c:pt idx="29">
                  <c:v>8581.859194574412</c:v>
                </c:pt>
                <c:pt idx="30">
                  <c:v>8542.696338923301</c:v>
                </c:pt>
                <c:pt idx="31">
                  <c:v>8503.759034305473</c:v>
                </c:pt>
                <c:pt idx="32">
                  <c:v>8465.045712621846</c:v>
                </c:pt>
                <c:pt idx="33">
                  <c:v>8426.554818541326</c:v>
                </c:pt>
                <c:pt idx="34">
                  <c:v>8388.284809381957</c:v>
                </c:pt>
                <c:pt idx="35">
                  <c:v>8350.234154992936</c:v>
                </c:pt>
                <c:pt idx="36">
                  <c:v>8312.401337637823</c:v>
                </c:pt>
                <c:pt idx="37">
                  <c:v>8274.78485187954</c:v>
                </c:pt>
                <c:pt idx="38">
                  <c:v>8237.383204465707</c:v>
                </c:pt>
                <c:pt idx="39">
                  <c:v>8200.194914215942</c:v>
                </c:pt>
                <c:pt idx="40">
                  <c:v>8163.218511909937</c:v>
                </c:pt>
                <c:pt idx="41">
                  <c:v>8126.45254017677</c:v>
                </c:pt>
                <c:pt idx="42">
                  <c:v>8089.895553385533</c:v>
                </c:pt>
                <c:pt idx="43">
                  <c:v>8053.546117536747</c:v>
                </c:pt>
                <c:pt idx="44">
                  <c:v>8017.402810155327</c:v>
                </c:pt>
                <c:pt idx="45">
                  <c:v>7981.4642201844</c:v>
                </c:pt>
                <c:pt idx="46">
                  <c:v>7945.728947880279</c:v>
                </c:pt>
                <c:pt idx="47">
                  <c:v>7910.195604708414</c:v>
                </c:pt>
                <c:pt idx="48">
                  <c:v>7874.862813240791</c:v>
                </c:pt>
                <c:pt idx="49">
                  <c:v>7839.72920705396</c:v>
                </c:pt>
                <c:pt idx="50">
                  <c:v>7804.793430628277</c:v>
                </c:pt>
                <c:pt idx="51">
                  <c:v>7770.054139248317</c:v>
                </c:pt>
                <c:pt idx="52">
                  <c:v>7735.50999890412</c:v>
                </c:pt>
                <c:pt idx="53">
                  <c:v>7701.159686193524</c:v>
                </c:pt>
                <c:pt idx="54">
                  <c:v>7667.001888225597</c:v>
                </c:pt>
                <c:pt idx="55">
                  <c:v>7633.035302524928</c:v>
                </c:pt>
                <c:pt idx="56">
                  <c:v>7599.258636936828</c:v>
                </c:pt>
                <c:pt idx="57">
                  <c:v>7565.67060953386</c:v>
                </c:pt>
                <c:pt idx="58">
                  <c:v>7532.269948522884</c:v>
                </c:pt>
                <c:pt idx="59">
                  <c:v>7499.0553921534</c:v>
                </c:pt>
                <c:pt idx="60">
                  <c:v>7466.025688626452</c:v>
                </c:pt>
                <c:pt idx="61">
                  <c:v>7433.17959600502</c:v>
                </c:pt>
                <c:pt idx="62">
                  <c:v>7400.515882124741</c:v>
                </c:pt>
                <c:pt idx="63">
                  <c:v>7368.033324505895</c:v>
                </c:pt>
                <c:pt idx="64">
                  <c:v>7335.730710266089</c:v>
                </c:pt>
                <c:pt idx="65">
                  <c:v>7303.606836034096</c:v>
                </c:pt>
                <c:pt idx="66">
                  <c:v>7271.660507864215</c:v>
                </c:pt>
                <c:pt idx="67">
                  <c:v>7239.89054115178</c:v>
                </c:pt>
                <c:pt idx="68">
                  <c:v>7208.295760549308</c:v>
                </c:pt>
                <c:pt idx="69">
                  <c:v>7176.874999883843</c:v>
                </c:pt>
                <c:pt idx="70">
                  <c:v>7145.627102074563</c:v>
                </c:pt>
                <c:pt idx="71">
                  <c:v>7114.55091905185</c:v>
                </c:pt>
                <c:pt idx="72">
                  <c:v>7083.645311676653</c:v>
                </c:pt>
                <c:pt idx="73">
                  <c:v>7052.90914966107</c:v>
                </c:pt>
                <c:pt idx="74">
                  <c:v>7022.341311489341</c:v>
                </c:pt>
                <c:pt idx="75">
                  <c:v>6991.940684340057</c:v>
                </c:pt>
                <c:pt idx="76">
                  <c:v>6961.70616400877</c:v>
                </c:pt>
                <c:pt idx="77">
                  <c:v>6931.636654831611</c:v>
                </c:pt>
                <c:pt idx="78">
                  <c:v>6901.731069609485</c:v>
                </c:pt>
                <c:pt idx="79">
                  <c:v>6871.988329533318</c:v>
                </c:pt>
                <c:pt idx="80">
                  <c:v>6842.407364109716</c:v>
                </c:pt>
                <c:pt idx="81">
                  <c:v>6812.987111087517</c:v>
                </c:pt>
                <c:pt idx="82">
                  <c:v>6783.726516385224</c:v>
                </c:pt>
                <c:pt idx="83">
                  <c:v>6754.62453401882</c:v>
                </c:pt>
                <c:pt idx="84">
                  <c:v>6725.680126030534</c:v>
                </c:pt>
                <c:pt idx="85">
                  <c:v>6696.8922624184</c:v>
                </c:pt>
                <c:pt idx="86">
                  <c:v>6668.25992106618</c:v>
                </c:pt>
                <c:pt idx="87">
                  <c:v>6639.782087674397</c:v>
                </c:pt>
                <c:pt idx="88">
                  <c:v>6611.457755691586</c:v>
                </c:pt>
                <c:pt idx="89">
                  <c:v>6583.285926246725</c:v>
                </c:pt>
                <c:pt idx="90">
                  <c:v>6555.26560808187</c:v>
                </c:pt>
                <c:pt idx="91">
                  <c:v>6527.395817485803</c:v>
                </c:pt>
                <c:pt idx="92">
                  <c:v>6499.675578228117</c:v>
                </c:pt>
                <c:pt idx="93">
                  <c:v>6472.10392149412</c:v>
                </c:pt>
                <c:pt idx="94">
                  <c:v>6444.679885820132</c:v>
                </c:pt>
                <c:pt idx="95">
                  <c:v>6417.402517029706</c:v>
                </c:pt>
                <c:pt idx="96">
                  <c:v>6390.270868170272</c:v>
                </c:pt>
                <c:pt idx="97">
                  <c:v>6363.283999450521</c:v>
                </c:pt>
                <c:pt idx="98">
                  <c:v>6336.440978178241</c:v>
                </c:pt>
                <c:pt idx="99">
                  <c:v>6309.740878699015</c:v>
                </c:pt>
                <c:pt idx="100">
                  <c:v>6283.18278233516</c:v>
                </c:pt>
                <c:pt idx="101">
                  <c:v>6256.765777325778</c:v>
                </c:pt>
                <c:pt idx="102">
                  <c:v>6230.488958766698</c:v>
                </c:pt>
                <c:pt idx="103">
                  <c:v>6204.35142855176</c:v>
                </c:pt>
                <c:pt idx="104">
                  <c:v>6178.352295314006</c:v>
                </c:pt>
                <c:pt idx="105">
                  <c:v>6152.49067436788</c:v>
                </c:pt>
                <c:pt idx="106">
                  <c:v>6126.76568765181</c:v>
                </c:pt>
                <c:pt idx="107">
                  <c:v>6101.17646367141</c:v>
                </c:pt>
                <c:pt idx="108">
                  <c:v>6075.72213744302</c:v>
                </c:pt>
                <c:pt idx="109">
                  <c:v>6050.401850438268</c:v>
                </c:pt>
                <c:pt idx="110">
                  <c:v>6025.214750528588</c:v>
                </c:pt>
                <c:pt idx="111">
                  <c:v>6000.1599919307</c:v>
                </c:pt>
                <c:pt idx="112">
                  <c:v>5975.236735152417</c:v>
                </c:pt>
                <c:pt idx="113">
                  <c:v>5950.444146939009</c:v>
                </c:pt>
                <c:pt idx="114">
                  <c:v>5925.781400220189</c:v>
                </c:pt>
                <c:pt idx="115">
                  <c:v>5901.24767405737</c:v>
                </c:pt>
                <c:pt idx="116">
                  <c:v>5876.84215359168</c:v>
                </c:pt>
                <c:pt idx="117">
                  <c:v>5852.564029992298</c:v>
                </c:pt>
                <c:pt idx="118">
                  <c:v>5828.41250040541</c:v>
                </c:pt>
                <c:pt idx="119">
                  <c:v>5804.386767903615</c:v>
                </c:pt>
                <c:pt idx="120">
                  <c:v>5780.486041435631</c:v>
                </c:pt>
                <c:pt idx="121">
                  <c:v>5756.70953577687</c:v>
                </c:pt>
                <c:pt idx="122">
                  <c:v>5733.056471480105</c:v>
                </c:pt>
                <c:pt idx="123">
                  <c:v>5709.52607482679</c:v>
                </c:pt>
                <c:pt idx="124">
                  <c:v>5686.117577778827</c:v>
                </c:pt>
                <c:pt idx="125">
                  <c:v>5662.830217930788</c:v>
                </c:pt>
                <c:pt idx="126">
                  <c:v>5639.66323846257</c:v>
                </c:pt>
                <c:pt idx="127">
                  <c:v>5616.615888092424</c:v>
                </c:pt>
                <c:pt idx="128">
                  <c:v>5593.68742103066</c:v>
                </c:pt>
                <c:pt idx="129">
                  <c:v>5570.877096933526</c:v>
                </c:pt>
                <c:pt idx="130">
                  <c:v>5548.18418085768</c:v>
                </c:pt>
                <c:pt idx="131">
                  <c:v>5525.607943214995</c:v>
                </c:pt>
                <c:pt idx="132">
                  <c:v>5503.147659727952</c:v>
                </c:pt>
                <c:pt idx="133">
                  <c:v>5480.802611385224</c:v>
                </c:pt>
                <c:pt idx="134">
                  <c:v>5458.572084397864</c:v>
                </c:pt>
                <c:pt idx="135">
                  <c:v>5436.455370155818</c:v>
                </c:pt>
                <c:pt idx="136">
                  <c:v>5414.451765184906</c:v>
                </c:pt>
                <c:pt idx="137">
                  <c:v>5392.560571104031</c:v>
                </c:pt>
                <c:pt idx="138">
                  <c:v>5370.781094583112</c:v>
                </c:pt>
                <c:pt idx="139">
                  <c:v>5349.112647301075</c:v>
                </c:pt>
                <c:pt idx="140">
                  <c:v>5327.554545904432</c:v>
                </c:pt>
                <c:pt idx="141">
                  <c:v>5306.106111966281</c:v>
                </c:pt>
                <c:pt idx="142">
                  <c:v>5284.766671945395</c:v>
                </c:pt>
                <c:pt idx="143">
                  <c:v>5263.535557146081</c:v>
                </c:pt>
                <c:pt idx="144">
                  <c:v>5242.412103678288</c:v>
                </c:pt>
                <c:pt idx="145">
                  <c:v>5221.39565241771</c:v>
                </c:pt>
                <c:pt idx="146">
                  <c:v>5200.485548966972</c:v>
                </c:pt>
                <c:pt idx="147">
                  <c:v>5179.681143616491</c:v>
                </c:pt>
                <c:pt idx="148">
                  <c:v>5158.981791306196</c:v>
                </c:pt>
                <c:pt idx="149">
                  <c:v>5138.38685158722</c:v>
                </c:pt>
                <c:pt idx="150">
                  <c:v>5117.89568858429</c:v>
                </c:pt>
                <c:pt idx="151">
                  <c:v>5097.507670958144</c:v>
                </c:pt>
                <c:pt idx="152">
                  <c:v>5077.2221718686</c:v>
                </c:pt>
                <c:pt idx="153">
                  <c:v>5057.038568937633</c:v>
                </c:pt>
                <c:pt idx="154">
                  <c:v>5036.956244213175</c:v>
                </c:pt>
                <c:pt idx="155">
                  <c:v>5016.97458413294</c:v>
                </c:pt>
                <c:pt idx="156">
                  <c:v>4997.09297948866</c:v>
                </c:pt>
                <c:pt idx="157">
                  <c:v>4977.3108253907</c:v>
                </c:pt>
                <c:pt idx="158">
                  <c:v>4957.62752123305</c:v>
                </c:pt>
                <c:pt idx="159">
                  <c:v>4938.042470658455</c:v>
                </c:pt>
                <c:pt idx="160">
                  <c:v>4918.555081524021</c:v>
                </c:pt>
                <c:pt idx="161">
                  <c:v>4899.16476586709</c:v>
                </c:pt>
                <c:pt idx="162">
                  <c:v>4879.870939871405</c:v>
                </c:pt>
                <c:pt idx="163">
                  <c:v>4860.673023833596</c:v>
                </c:pt>
                <c:pt idx="164">
                  <c:v>4841.570442129999</c:v>
                </c:pt>
                <c:pt idx="165">
                  <c:v>4822.56262318373</c:v>
                </c:pt>
                <c:pt idx="166">
                  <c:v>4803.648999432091</c:v>
                </c:pt>
                <c:pt idx="167">
                  <c:v>4784.829007294245</c:v>
                </c:pt>
                <c:pt idx="168">
                  <c:v>4766.102087139247</c:v>
                </c:pt>
                <c:pt idx="169">
                  <c:v>4747.467683254236</c:v>
                </c:pt>
                <c:pt idx="170">
                  <c:v>4728.925243813131</c:v>
                </c:pt>
                <c:pt idx="171">
                  <c:v>4710.474220845344</c:v>
                </c:pt>
                <c:pt idx="172">
                  <c:v>4692.114070204991</c:v>
                </c:pt>
                <c:pt idx="173">
                  <c:v>4673.84425154021</c:v>
                </c:pt>
                <c:pt idx="174">
                  <c:v>4655.66422826299</c:v>
                </c:pt>
                <c:pt idx="175">
                  <c:v>4637.573467518969</c:v>
                </c:pt>
                <c:pt idx="176">
                  <c:v>4619.571440157793</c:v>
                </c:pt>
                <c:pt idx="177">
                  <c:v>4601.657620703495</c:v>
                </c:pt>
                <c:pt idx="178">
                  <c:v>4583.831487325328</c:v>
                </c:pt>
                <c:pt idx="179">
                  <c:v>4566.09252180882</c:v>
                </c:pt>
                <c:pt idx="180">
                  <c:v>4548.440209526936</c:v>
                </c:pt>
                <c:pt idx="181">
                  <c:v>4530.87403941168</c:v>
                </c:pt>
                <c:pt idx="182">
                  <c:v>4513.39350392593</c:v>
                </c:pt>
                <c:pt idx="183">
                  <c:v>4495.998099035419</c:v>
                </c:pt>
                <c:pt idx="184">
                  <c:v>4478.687324181071</c:v>
                </c:pt>
                <c:pt idx="185">
                  <c:v>4461.460682251461</c:v>
                </c:pt>
                <c:pt idx="186">
                  <c:v>4444.31767955576</c:v>
                </c:pt>
                <c:pt idx="187">
                  <c:v>4427.257825796569</c:v>
                </c:pt>
                <c:pt idx="188">
                  <c:v>4410.280634043342</c:v>
                </c:pt>
                <c:pt idx="189">
                  <c:v>4393.38562070582</c:v>
                </c:pt>
                <c:pt idx="190">
                  <c:v>4376.572305507768</c:v>
                </c:pt>
                <c:pt idx="191">
                  <c:v>4359.84021146096</c:v>
                </c:pt>
                <c:pt idx="192">
                  <c:v>4343.188864839386</c:v>
                </c:pt>
                <c:pt idx="193">
                  <c:v>4326.617795153688</c:v>
                </c:pt>
                <c:pt idx="194">
                  <c:v>4310.12653512579</c:v>
                </c:pt>
                <c:pt idx="195">
                  <c:v>4293.71462066384</c:v>
                </c:pt>
                <c:pt idx="196">
                  <c:v>4277.381590837196</c:v>
                </c:pt>
                <c:pt idx="197">
                  <c:v>4261.1269878519</c:v>
                </c:pt>
                <c:pt idx="198">
                  <c:v>4244.950357026039</c:v>
                </c:pt>
                <c:pt idx="199">
                  <c:v>4228.85124676573</c:v>
                </c:pt>
                <c:pt idx="200">
                  <c:v>4212.82920854083</c:v>
                </c:pt>
                <c:pt idx="201">
                  <c:v>4196.883796861296</c:v>
                </c:pt>
                <c:pt idx="202">
                  <c:v>4181.01456925349</c:v>
                </c:pt>
                <c:pt idx="203">
                  <c:v>4165.221086236791</c:v>
                </c:pt>
                <c:pt idx="204">
                  <c:v>4149.50291130044</c:v>
                </c:pt>
                <c:pt idx="205">
                  <c:v>4133.859610880413</c:v>
                </c:pt>
                <c:pt idx="206">
                  <c:v>4118.290754336777</c:v>
                </c:pt>
                <c:pt idx="207">
                  <c:v>4102.795913931001</c:v>
                </c:pt>
                <c:pt idx="208">
                  <c:v>4087.374664803524</c:v>
                </c:pt>
                <c:pt idx="209">
                  <c:v>4072.02658495164</c:v>
                </c:pt>
                <c:pt idx="210">
                  <c:v>4056.75125520742</c:v>
                </c:pt>
                <c:pt idx="211">
                  <c:v>4041.548259215861</c:v>
                </c:pt>
                <c:pt idx="212">
                  <c:v>4026.41718341337</c:v>
                </c:pt>
                <c:pt idx="213">
                  <c:v>4011.357617006202</c:v>
                </c:pt>
                <c:pt idx="214">
                  <c:v>3996.369151949215</c:v>
                </c:pt>
                <c:pt idx="215">
                  <c:v>3981.451382924828</c:v>
                </c:pt>
                <c:pt idx="216">
                  <c:v>3966.603907322143</c:v>
                </c:pt>
                <c:pt idx="217">
                  <c:v>3951.826325216152</c:v>
                </c:pt>
                <c:pt idx="218">
                  <c:v>3937.118239347272</c:v>
                </c:pt>
                <c:pt idx="219">
                  <c:v>3922.479255100968</c:v>
                </c:pt>
                <c:pt idx="220">
                  <c:v>3907.908980487556</c:v>
                </c:pt>
                <c:pt idx="221">
                  <c:v>3893.407026122207</c:v>
                </c:pt>
                <c:pt idx="222">
                  <c:v>3878.973005205076</c:v>
                </c:pt>
                <c:pt idx="223">
                  <c:v>3864.606533501712</c:v>
                </c:pt>
                <c:pt idx="224">
                  <c:v>3850.307229323461</c:v>
                </c:pt>
                <c:pt idx="225">
                  <c:v>3836.074713508188</c:v>
                </c:pt>
                <c:pt idx="226">
                  <c:v>3821.908609401145</c:v>
                </c:pt>
                <c:pt idx="227">
                  <c:v>3807.808542835867</c:v>
                </c:pt>
                <c:pt idx="228">
                  <c:v>3793.774142115431</c:v>
                </c:pt>
                <c:pt idx="229">
                  <c:v>3779.805037993704</c:v>
                </c:pt>
                <c:pt idx="230">
                  <c:v>3765.9008636569</c:v>
                </c:pt>
                <c:pt idx="231">
                  <c:v>3752.061254705145</c:v>
                </c:pt>
                <c:pt idx="232">
                  <c:v>3738.285849134294</c:v>
                </c:pt>
                <c:pt idx="233">
                  <c:v>3724.574287317904</c:v>
                </c:pt>
                <c:pt idx="234">
                  <c:v>3710.926211989293</c:v>
                </c:pt>
                <c:pt idx="235">
                  <c:v>3697.341268223832</c:v>
                </c:pt>
                <c:pt idx="236">
                  <c:v>3683.819103421314</c:v>
                </c:pt>
                <c:pt idx="237">
                  <c:v>3670.359367288555</c:v>
                </c:pt>
                <c:pt idx="238">
                  <c:v>3656.96171182206</c:v>
                </c:pt>
                <c:pt idx="239">
                  <c:v>3643.625791290843</c:v>
                </c:pt>
                <c:pt idx="240">
                  <c:v>3630.351262219506</c:v>
                </c:pt>
                <c:pt idx="241">
                  <c:v>3617.13778337128</c:v>
                </c:pt>
                <c:pt idx="242">
                  <c:v>3603.985015731363</c:v>
                </c:pt>
                <c:pt idx="243">
                  <c:v>3590.892622490306</c:v>
                </c:pt>
                <c:pt idx="244">
                  <c:v>3577.860269027599</c:v>
                </c:pt>
                <c:pt idx="245">
                  <c:v>3564.887622895322</c:v>
                </c:pt>
                <c:pt idx="246">
                  <c:v>3551.974353802026</c:v>
                </c:pt>
                <c:pt idx="247">
                  <c:v>3539.120133596707</c:v>
                </c:pt>
                <c:pt idx="248">
                  <c:v>3526.324636252848</c:v>
                </c:pt>
                <c:pt idx="249">
                  <c:v>3513.587537852687</c:v>
                </c:pt>
                <c:pt idx="250">
                  <c:v>3500.908516571617</c:v>
                </c:pt>
                <c:pt idx="251">
                  <c:v>3488.287252662645</c:v>
                </c:pt>
                <c:pt idx="252">
                  <c:v>3475.723428441015</c:v>
                </c:pt>
                <c:pt idx="253">
                  <c:v>3463.216728269021</c:v>
                </c:pt>
                <c:pt idx="254">
                  <c:v>3450.766838540791</c:v>
                </c:pt>
                <c:pt idx="255">
                  <c:v>3438.373447667386</c:v>
                </c:pt>
                <c:pt idx="256">
                  <c:v>3426.036246061922</c:v>
                </c:pt>
                <c:pt idx="257">
                  <c:v>3413.754926124765</c:v>
                </c:pt>
                <c:pt idx="258">
                  <c:v>3401.529182228975</c:v>
                </c:pt>
                <c:pt idx="259">
                  <c:v>3389.35871070578</c:v>
                </c:pt>
                <c:pt idx="260">
                  <c:v>3377.243209830186</c:v>
                </c:pt>
                <c:pt idx="261">
                  <c:v>3365.182379806755</c:v>
                </c:pt>
                <c:pt idx="262">
                  <c:v>3353.175922755414</c:v>
                </c:pt>
                <c:pt idx="263">
                  <c:v>3341.223542697482</c:v>
                </c:pt>
                <c:pt idx="264">
                  <c:v>3329.324945541707</c:v>
                </c:pt>
                <c:pt idx="265">
                  <c:v>3317.47983907052</c:v>
                </c:pt>
                <c:pt idx="266">
                  <c:v>3305.687932926292</c:v>
                </c:pt>
                <c:pt idx="267">
                  <c:v>3293.948938597838</c:v>
                </c:pt>
                <c:pt idx="268">
                  <c:v>3282.262569406914</c:v>
                </c:pt>
                <c:pt idx="269">
                  <c:v>3270.628540494918</c:v>
                </c:pt>
                <c:pt idx="270">
                  <c:v>3259.046568809547</c:v>
                </c:pt>
                <c:pt idx="271">
                  <c:v>3247.516373091774</c:v>
                </c:pt>
                <c:pt idx="272">
                  <c:v>3236.037673862816</c:v>
                </c:pt>
                <c:pt idx="273">
                  <c:v>3224.61019341116</c:v>
                </c:pt>
                <c:pt idx="274">
                  <c:v>3213.233655779785</c:v>
                </c:pt>
                <c:pt idx="275">
                  <c:v>3201.90778675352</c:v>
                </c:pt>
                <c:pt idx="276">
                  <c:v>3190.632313846301</c:v>
                </c:pt>
                <c:pt idx="277">
                  <c:v>3179.406966288838</c:v>
                </c:pt>
                <c:pt idx="278">
                  <c:v>3168.231475016096</c:v>
                </c:pt>
                <c:pt idx="279">
                  <c:v>3157.105572655048</c:v>
                </c:pt>
                <c:pt idx="280">
                  <c:v>3146.02899351249</c:v>
                </c:pt>
                <c:pt idx="281">
                  <c:v>3135.001473562927</c:v>
                </c:pt>
                <c:pt idx="282">
                  <c:v>3124.022750436564</c:v>
                </c:pt>
                <c:pt idx="283">
                  <c:v>3113.092563407436</c:v>
                </c:pt>
                <c:pt idx="284">
                  <c:v>3102.210653381591</c:v>
                </c:pt>
                <c:pt idx="285">
                  <c:v>3091.376762885391</c:v>
                </c:pt>
                <c:pt idx="286">
                  <c:v>3080.590636053862</c:v>
                </c:pt>
                <c:pt idx="287">
                  <c:v>3069.852018619192</c:v>
                </c:pt>
                <c:pt idx="288">
                  <c:v>3059.16065789937</c:v>
                </c:pt>
                <c:pt idx="289">
                  <c:v>3048.516302786712</c:v>
                </c:pt>
                <c:pt idx="290">
                  <c:v>3037.918703736776</c:v>
                </c:pt>
                <c:pt idx="291">
                  <c:v>3027.367612757068</c:v>
                </c:pt>
                <c:pt idx="292">
                  <c:v>3016.862783396082</c:v>
                </c:pt>
                <c:pt idx="293">
                  <c:v>3006.40397073228</c:v>
                </c:pt>
                <c:pt idx="294">
                  <c:v>2995.990931363207</c:v>
                </c:pt>
                <c:pt idx="295">
                  <c:v>2985.623423394696</c:v>
                </c:pt>
                <c:pt idx="296">
                  <c:v>2975.301206430151</c:v>
                </c:pt>
                <c:pt idx="297">
                  <c:v>2965.024041559949</c:v>
                </c:pt>
                <c:pt idx="298">
                  <c:v>2954.791691350836</c:v>
                </c:pt>
                <c:pt idx="299">
                  <c:v>2944.60391983557</c:v>
                </c:pt>
                <c:pt idx="300">
                  <c:v>2934.460492502424</c:v>
                </c:pt>
                <c:pt idx="301">
                  <c:v>2924.361176284992</c:v>
                </c:pt>
                <c:pt idx="302">
                  <c:v>2914.305739551947</c:v>
                </c:pt>
                <c:pt idx="303">
                  <c:v>2904.293952096896</c:v>
                </c:pt>
                <c:pt idx="304">
                  <c:v>2894.325585128372</c:v>
                </c:pt>
                <c:pt idx="305">
                  <c:v>2884.400411259815</c:v>
                </c:pt>
                <c:pt idx="306">
                  <c:v>2874.518204499735</c:v>
                </c:pt>
                <c:pt idx="307">
                  <c:v>2864.678740241867</c:v>
                </c:pt>
                <c:pt idx="308">
                  <c:v>2854.881795255463</c:v>
                </c:pt>
                <c:pt idx="309">
                  <c:v>2845.127147675611</c:v>
                </c:pt>
                <c:pt idx="310">
                  <c:v>2835.414576993697</c:v>
                </c:pt>
                <c:pt idx="311">
                  <c:v>2825.743864047824</c:v>
                </c:pt>
                <c:pt idx="312">
                  <c:v>2816.11479101352</c:v>
                </c:pt>
                <c:pt idx="313">
                  <c:v>2806.527141394221</c:v>
                </c:pt>
                <c:pt idx="314">
                  <c:v>2796.980700012118</c:v>
                </c:pt>
                <c:pt idx="315">
                  <c:v>2787.4752529989</c:v>
                </c:pt>
                <c:pt idx="316">
                  <c:v>2778.010587786598</c:v>
                </c:pt>
                <c:pt idx="317">
                  <c:v>2768.58649309858</c:v>
                </c:pt>
                <c:pt idx="318">
                  <c:v>2759.202758940532</c:v>
                </c:pt>
                <c:pt idx="319">
                  <c:v>2749.85917659151</c:v>
                </c:pt>
                <c:pt idx="320">
                  <c:v>2740.55553859511</c:v>
                </c:pt>
                <c:pt idx="321">
                  <c:v>2731.291638750731</c:v>
                </c:pt>
                <c:pt idx="322">
                  <c:v>2722.067272104803</c:v>
                </c:pt>
                <c:pt idx="323">
                  <c:v>2712.88223494215</c:v>
                </c:pt>
                <c:pt idx="324">
                  <c:v>2703.736324777431</c:v>
                </c:pt>
                <c:pt idx="325">
                  <c:v>2694.629340346645</c:v>
                </c:pt>
                <c:pt idx="326">
                  <c:v>2685.561081598647</c:v>
                </c:pt>
                <c:pt idx="327">
                  <c:v>2676.531349686813</c:v>
                </c:pt>
                <c:pt idx="328">
                  <c:v>2667.539946960684</c:v>
                </c:pt>
                <c:pt idx="329">
                  <c:v>2658.586676957751</c:v>
                </c:pt>
                <c:pt idx="330">
                  <c:v>2649.671344395261</c:v>
                </c:pt>
                <c:pt idx="331">
                  <c:v>2640.793755162076</c:v>
                </c:pt>
                <c:pt idx="332">
                  <c:v>2631.953716310688</c:v>
                </c:pt>
                <c:pt idx="333">
                  <c:v>2623.151036049128</c:v>
                </c:pt>
                <c:pt idx="334">
                  <c:v>2614.38552373311</c:v>
                </c:pt>
                <c:pt idx="335">
                  <c:v>2605.656989858084</c:v>
                </c:pt>
                <c:pt idx="336">
                  <c:v>2596.965246051516</c:v>
                </c:pt>
                <c:pt idx="337">
                  <c:v>2588.310105065084</c:v>
                </c:pt>
                <c:pt idx="338">
                  <c:v>2579.691380766987</c:v>
                </c:pt>
                <c:pt idx="339">
                  <c:v>2571.108888134303</c:v>
                </c:pt>
                <c:pt idx="340">
                  <c:v>2562.562443245474</c:v>
                </c:pt>
                <c:pt idx="341">
                  <c:v>2554.051863272753</c:v>
                </c:pt>
                <c:pt idx="342">
                  <c:v>2545.576966474715</c:v>
                </c:pt>
                <c:pt idx="343">
                  <c:v>2537.137572188932</c:v>
                </c:pt>
                <c:pt idx="344">
                  <c:v>2528.733500824571</c:v>
                </c:pt>
                <c:pt idx="345">
                  <c:v>2520.36457385512</c:v>
                </c:pt>
                <c:pt idx="346">
                  <c:v>2512.030613811214</c:v>
                </c:pt>
                <c:pt idx="347">
                  <c:v>2503.73144427337</c:v>
                </c:pt>
                <c:pt idx="348">
                  <c:v>2495.466889864931</c:v>
                </c:pt>
                <c:pt idx="349">
                  <c:v>2487.236776244968</c:v>
                </c:pt>
                <c:pt idx="350">
                  <c:v>2479.040930101308</c:v>
                </c:pt>
                <c:pt idx="351">
                  <c:v>2470.879179143525</c:v>
                </c:pt>
                <c:pt idx="352">
                  <c:v>2462.751352096076</c:v>
                </c:pt>
                <c:pt idx="353">
                  <c:v>2454.657278691445</c:v>
                </c:pt>
                <c:pt idx="354">
                  <c:v>2446.596789663305</c:v>
                </c:pt>
                <c:pt idx="355">
                  <c:v>2438.56971673983</c:v>
                </c:pt>
                <c:pt idx="356">
                  <c:v>2430.575892636925</c:v>
                </c:pt>
                <c:pt idx="357">
                  <c:v>2422.615151051666</c:v>
                </c:pt>
                <c:pt idx="358">
                  <c:v>2414.68732665565</c:v>
                </c:pt>
                <c:pt idx="359">
                  <c:v>2406.792255088412</c:v>
                </c:pt>
                <c:pt idx="360">
                  <c:v>2398.92977295104</c:v>
                </c:pt>
                <c:pt idx="361">
                  <c:v>2391.099717799624</c:v>
                </c:pt>
                <c:pt idx="362">
                  <c:v>2383.30192813891</c:v>
                </c:pt>
                <c:pt idx="363">
                  <c:v>2375.53624341594</c:v>
                </c:pt>
                <c:pt idx="364">
                  <c:v>2367.80250401375</c:v>
                </c:pt>
                <c:pt idx="365">
                  <c:v>2360.100551245097</c:v>
                </c:pt>
                <c:pt idx="366">
                  <c:v>2352.430227346283</c:v>
                </c:pt>
                <c:pt idx="367">
                  <c:v>2344.791375470971</c:v>
                </c:pt>
                <c:pt idx="368">
                  <c:v>2337.183839684092</c:v>
                </c:pt>
                <c:pt idx="369">
                  <c:v>2329.607464955764</c:v>
                </c:pt>
                <c:pt idx="370">
                  <c:v>2322.062097155239</c:v>
                </c:pt>
                <c:pt idx="371">
                  <c:v>2314.547583045002</c:v>
                </c:pt>
                <c:pt idx="372">
                  <c:v>2307.063770274747</c:v>
                </c:pt>
                <c:pt idx="373">
                  <c:v>2299.610507375555</c:v>
                </c:pt>
                <c:pt idx="374">
                  <c:v>2292.18764375403</c:v>
                </c:pt>
                <c:pt idx="375">
                  <c:v>2284.795029686511</c:v>
                </c:pt>
                <c:pt idx="376">
                  <c:v>2277.43251631326</c:v>
                </c:pt>
                <c:pt idx="377">
                  <c:v>2270.099955632825</c:v>
                </c:pt>
                <c:pt idx="378">
                  <c:v>2262.797200496297</c:v>
                </c:pt>
                <c:pt idx="379">
                  <c:v>2255.524104601747</c:v>
                </c:pt>
                <c:pt idx="380">
                  <c:v>2248.280522488596</c:v>
                </c:pt>
                <c:pt idx="381">
                  <c:v>2241.066309532065</c:v>
                </c:pt>
                <c:pt idx="382">
                  <c:v>2233.8813219377</c:v>
                </c:pt>
                <c:pt idx="383">
                  <c:v>2226.7254167359</c:v>
                </c:pt>
                <c:pt idx="384">
                  <c:v>2219.598451776452</c:v>
                </c:pt>
                <c:pt idx="385">
                  <c:v>2212.500285723213</c:v>
                </c:pt>
                <c:pt idx="386">
                  <c:v>2205.430778048727</c:v>
                </c:pt>
                <c:pt idx="387">
                  <c:v>2198.389789028929</c:v>
                </c:pt>
                <c:pt idx="388">
                  <c:v>2191.377179737874</c:v>
                </c:pt>
                <c:pt idx="389">
                  <c:v>2184.392812042535</c:v>
                </c:pt>
                <c:pt idx="390">
                  <c:v>2177.436548597577</c:v>
                </c:pt>
                <c:pt idx="391">
                  <c:v>2170.50825284025</c:v>
                </c:pt>
                <c:pt idx="392">
                  <c:v>2163.607788985237</c:v>
                </c:pt>
                <c:pt idx="393">
                  <c:v>2156.735022019644</c:v>
                </c:pt>
                <c:pt idx="394">
                  <c:v>2149.889817697863</c:v>
                </c:pt>
                <c:pt idx="395">
                  <c:v>2143.072042536688</c:v>
                </c:pt>
                <c:pt idx="396">
                  <c:v>2136.281563810252</c:v>
                </c:pt>
                <c:pt idx="397">
                  <c:v>2129.518249545191</c:v>
                </c:pt>
                <c:pt idx="398">
                  <c:v>2122.781968515661</c:v>
                </c:pt>
                <c:pt idx="399">
                  <c:v>2116.072590238576</c:v>
                </c:pt>
                <c:pt idx="400">
                  <c:v>2109.389984968724</c:v>
                </c:pt>
                <c:pt idx="401">
                  <c:v>2102.734023694006</c:v>
                </c:pt>
                <c:pt idx="402">
                  <c:v>2096.104578130694</c:v>
                </c:pt>
                <c:pt idx="403">
                  <c:v>2089.501520718712</c:v>
                </c:pt>
                <c:pt idx="404">
                  <c:v>2082.924724616948</c:v>
                </c:pt>
                <c:pt idx="405">
                  <c:v>2076.374063698641</c:v>
                </c:pt>
                <c:pt idx="406">
                  <c:v>2069.849412546711</c:v>
                </c:pt>
                <c:pt idx="407">
                  <c:v>2063.35064644925</c:v>
                </c:pt>
                <c:pt idx="408">
                  <c:v>2056.877641394917</c:v>
                </c:pt>
                <c:pt idx="409">
                  <c:v>2050.430274068483</c:v>
                </c:pt>
                <c:pt idx="410">
                  <c:v>2044.008421846302</c:v>
                </c:pt>
                <c:pt idx="411">
                  <c:v>2037.611962791892</c:v>
                </c:pt>
                <c:pt idx="412">
                  <c:v>2031.24077565151</c:v>
                </c:pt>
                <c:pt idx="413">
                  <c:v>2024.894739849789</c:v>
                </c:pt>
                <c:pt idx="414">
                  <c:v>2018.573735485373</c:v>
                </c:pt>
                <c:pt idx="415">
                  <c:v>2012.277643326596</c:v>
                </c:pt>
                <c:pt idx="416">
                  <c:v>2006.006344807191</c:v>
                </c:pt>
                <c:pt idx="417">
                  <c:v>1999.759722022058</c:v>
                </c:pt>
                <c:pt idx="418">
                  <c:v>1993.537657722998</c:v>
                </c:pt>
                <c:pt idx="419">
                  <c:v>1987.340035314564</c:v>
                </c:pt>
                <c:pt idx="420">
                  <c:v>1981.166738849854</c:v>
                </c:pt>
                <c:pt idx="421">
                  <c:v>1975.01765302642</c:v>
                </c:pt>
                <c:pt idx="422">
                  <c:v>1968.892663182098</c:v>
                </c:pt>
                <c:pt idx="423">
                  <c:v>1962.79165529101</c:v>
                </c:pt>
                <c:pt idx="424">
                  <c:v>1956.71451595945</c:v>
                </c:pt>
                <c:pt idx="425">
                  <c:v>1950.661132421905</c:v>
                </c:pt>
                <c:pt idx="426">
                  <c:v>1944.631392537045</c:v>
                </c:pt>
                <c:pt idx="427">
                  <c:v>1938.625184783805</c:v>
                </c:pt>
                <c:pt idx="428">
                  <c:v>1932.642398257374</c:v>
                </c:pt>
                <c:pt idx="429">
                  <c:v>1926.682922665376</c:v>
                </c:pt>
                <c:pt idx="430">
                  <c:v>1920.746648323928</c:v>
                </c:pt>
                <c:pt idx="431">
                  <c:v>1914.833466153836</c:v>
                </c:pt>
                <c:pt idx="432">
                  <c:v>1908.943267676766</c:v>
                </c:pt>
                <c:pt idx="433">
                  <c:v>1903.075945011398</c:v>
                </c:pt>
                <c:pt idx="434">
                  <c:v>1897.231390869756</c:v>
                </c:pt>
                <c:pt idx="435">
                  <c:v>1891.409498553382</c:v>
                </c:pt>
                <c:pt idx="436">
                  <c:v>1885.610161949663</c:v>
                </c:pt>
                <c:pt idx="437">
                  <c:v>1879.833275528135</c:v>
                </c:pt>
                <c:pt idx="438">
                  <c:v>1874.078734336819</c:v>
                </c:pt>
                <c:pt idx="439">
                  <c:v>1868.346433998603</c:v>
                </c:pt>
                <c:pt idx="440">
                  <c:v>1862.636270707606</c:v>
                </c:pt>
                <c:pt idx="441">
                  <c:v>1856.948141225626</c:v>
                </c:pt>
                <c:pt idx="442">
                  <c:v>1851.281942878531</c:v>
                </c:pt>
                <c:pt idx="443">
                  <c:v>1845.637573552793</c:v>
                </c:pt>
                <c:pt idx="444">
                  <c:v>1840.014931691936</c:v>
                </c:pt>
                <c:pt idx="445">
                  <c:v>1834.413916293051</c:v>
                </c:pt>
                <c:pt idx="446">
                  <c:v>1828.834426903351</c:v>
                </c:pt>
                <c:pt idx="447">
                  <c:v>1823.276363616753</c:v>
                </c:pt>
                <c:pt idx="448">
                  <c:v>1817.739627070425</c:v>
                </c:pt>
                <c:pt idx="449">
                  <c:v>1812.224118441431</c:v>
                </c:pt>
                <c:pt idx="450">
                  <c:v>1806.729739443365</c:v>
                </c:pt>
                <c:pt idx="451">
                  <c:v>1801.256392322995</c:v>
                </c:pt>
                <c:pt idx="452">
                  <c:v>1795.803979856988</c:v>
                </c:pt>
                <c:pt idx="453">
                  <c:v>1790.372405348551</c:v>
                </c:pt>
                <c:pt idx="454">
                  <c:v>1784.961572624231</c:v>
                </c:pt>
                <c:pt idx="455">
                  <c:v>1779.571386030626</c:v>
                </c:pt>
                <c:pt idx="456">
                  <c:v>1774.201750431176</c:v>
                </c:pt>
                <c:pt idx="457">
                  <c:v>1768.852571202954</c:v>
                </c:pt>
                <c:pt idx="458">
                  <c:v>1763.523754233501</c:v>
                </c:pt>
                <c:pt idx="459">
                  <c:v>1758.215205917643</c:v>
                </c:pt>
                <c:pt idx="460">
                  <c:v>1752.926833154413</c:v>
                </c:pt>
                <c:pt idx="461">
                  <c:v>1747.658543343857</c:v>
                </c:pt>
                <c:pt idx="462">
                  <c:v>1742.410244384017</c:v>
                </c:pt>
                <c:pt idx="463">
                  <c:v>1737.181844667803</c:v>
                </c:pt>
                <c:pt idx="464">
                  <c:v>1731.973253079994</c:v>
                </c:pt>
                <c:pt idx="465">
                  <c:v>1726.784378994183</c:v>
                </c:pt>
                <c:pt idx="466">
                  <c:v>1721.615132269777</c:v>
                </c:pt>
                <c:pt idx="467">
                  <c:v>1716.465423248998</c:v>
                </c:pt>
                <c:pt idx="468">
                  <c:v>1711.33516275395</c:v>
                </c:pt>
                <c:pt idx="469">
                  <c:v>1706.22426208365</c:v>
                </c:pt>
                <c:pt idx="470">
                  <c:v>1701.132633011105</c:v>
                </c:pt>
                <c:pt idx="471">
                  <c:v>1696.060187780438</c:v>
                </c:pt>
                <c:pt idx="472">
                  <c:v>1691.006839103945</c:v>
                </c:pt>
                <c:pt idx="473">
                  <c:v>1685.972500159303</c:v>
                </c:pt>
                <c:pt idx="474">
                  <c:v>1680.957084586674</c:v>
                </c:pt>
                <c:pt idx="475">
                  <c:v>1675.9605064859</c:v>
                </c:pt>
                <c:pt idx="476">
                  <c:v>1670.982680413685</c:v>
                </c:pt>
                <c:pt idx="477">
                  <c:v>1666.023521380846</c:v>
                </c:pt>
                <c:pt idx="478">
                  <c:v>1661.0829448495</c:v>
                </c:pt>
                <c:pt idx="479">
                  <c:v>1656.160866730348</c:v>
                </c:pt>
                <c:pt idx="480">
                  <c:v>1651.257203379942</c:v>
                </c:pt>
                <c:pt idx="481">
                  <c:v>1646.371871597956</c:v>
                </c:pt>
                <c:pt idx="482">
                  <c:v>1641.504788624522</c:v>
                </c:pt>
                <c:pt idx="483">
                  <c:v>1636.655872137528</c:v>
                </c:pt>
                <c:pt idx="484">
                  <c:v>1631.825040250002</c:v>
                </c:pt>
                <c:pt idx="485">
                  <c:v>1627.012211507438</c:v>
                </c:pt>
                <c:pt idx="486">
                  <c:v>1622.217304885203</c:v>
                </c:pt>
                <c:pt idx="487">
                  <c:v>1617.440239785908</c:v>
                </c:pt>
                <c:pt idx="488">
                  <c:v>1612.68093603687</c:v>
                </c:pt>
                <c:pt idx="489">
                  <c:v>1607.939313887511</c:v>
                </c:pt>
                <c:pt idx="490">
                  <c:v>1603.215294006802</c:v>
                </c:pt>
                <c:pt idx="491">
                  <c:v>1598.508797480782</c:v>
                </c:pt>
                <c:pt idx="492">
                  <c:v>1593.819745809988</c:v>
                </c:pt>
                <c:pt idx="493">
                  <c:v>1589.148060907008</c:v>
                </c:pt>
                <c:pt idx="494">
                  <c:v>1584.493665093967</c:v>
                </c:pt>
                <c:pt idx="495">
                  <c:v>1579.856481100065</c:v>
                </c:pt>
                <c:pt idx="496">
                  <c:v>1575.236432059163</c:v>
                </c:pt>
                <c:pt idx="497">
                  <c:v>1570.633441507327</c:v>
                </c:pt>
                <c:pt idx="498">
                  <c:v>1566.047433380435</c:v>
                </c:pt>
                <c:pt idx="499">
                  <c:v>1561.478332011733</c:v>
                </c:pt>
                <c:pt idx="500">
                  <c:v>1556.926062129532</c:v>
                </c:pt>
                <c:pt idx="501">
                  <c:v>1552.390548854776</c:v>
                </c:pt>
                <c:pt idx="502">
                  <c:v>1547.871717698732</c:v>
                </c:pt>
                <c:pt idx="503">
                  <c:v>1543.36949456064</c:v>
                </c:pt>
                <c:pt idx="504">
                  <c:v>1538.883805725411</c:v>
                </c:pt>
                <c:pt idx="505">
                  <c:v>1534.41457786131</c:v>
                </c:pt>
                <c:pt idx="506">
                  <c:v>1529.961738017687</c:v>
                </c:pt>
                <c:pt idx="507">
                  <c:v>1525.525213622685</c:v>
                </c:pt>
                <c:pt idx="508">
                  <c:v>1521.104932481006</c:v>
                </c:pt>
                <c:pt idx="509">
                  <c:v>1516.700822771671</c:v>
                </c:pt>
                <c:pt idx="510">
                  <c:v>1512.312813045786</c:v>
                </c:pt>
                <c:pt idx="511">
                  <c:v>1507.940832224316</c:v>
                </c:pt>
                <c:pt idx="512">
                  <c:v>1503.584809595938</c:v>
                </c:pt>
                <c:pt idx="513">
                  <c:v>1499.244674814804</c:v>
                </c:pt>
                <c:pt idx="514">
                  <c:v>1494.92035789843</c:v>
                </c:pt>
                <c:pt idx="515">
                  <c:v>1490.611789225488</c:v>
                </c:pt>
                <c:pt idx="516">
                  <c:v>1486.318899533727</c:v>
                </c:pt>
                <c:pt idx="517">
                  <c:v>1482.041619917805</c:v>
                </c:pt>
                <c:pt idx="518">
                  <c:v>1477.779881827196</c:v>
                </c:pt>
                <c:pt idx="519">
                  <c:v>1473.533617064108</c:v>
                </c:pt>
                <c:pt idx="520">
                  <c:v>1469.30275778138</c:v>
                </c:pt>
                <c:pt idx="521">
                  <c:v>1465.087236480441</c:v>
                </c:pt>
                <c:pt idx="522">
                  <c:v>1460.886986009234</c:v>
                </c:pt>
                <c:pt idx="523">
                  <c:v>1456.70193956018</c:v>
                </c:pt>
                <c:pt idx="524">
                  <c:v>1452.532030668177</c:v>
                </c:pt>
                <c:pt idx="525">
                  <c:v>1448.377193208551</c:v>
                </c:pt>
                <c:pt idx="526">
                  <c:v>1444.23736139508</c:v>
                </c:pt>
                <c:pt idx="527">
                  <c:v>1440.112469778005</c:v>
                </c:pt>
                <c:pt idx="528">
                  <c:v>1436.002453242056</c:v>
                </c:pt>
                <c:pt idx="529">
                  <c:v>1431.907247004488</c:v>
                </c:pt>
                <c:pt idx="530">
                  <c:v>1427.82678661315</c:v>
                </c:pt>
                <c:pt idx="531">
                  <c:v>1423.761007944515</c:v>
                </c:pt>
                <c:pt idx="532">
                  <c:v>1419.709847201809</c:v>
                </c:pt>
                <c:pt idx="533">
                  <c:v>1415.673240913062</c:v>
                </c:pt>
                <c:pt idx="534">
                  <c:v>1411.651125929244</c:v>
                </c:pt>
                <c:pt idx="535">
                  <c:v>1407.643439422334</c:v>
                </c:pt>
                <c:pt idx="536">
                  <c:v>1403.650118883512</c:v>
                </c:pt>
                <c:pt idx="537">
                  <c:v>1399.671102121248</c:v>
                </c:pt>
                <c:pt idx="538">
                  <c:v>1395.706327259494</c:v>
                </c:pt>
                <c:pt idx="539">
                  <c:v>1391.755732735805</c:v>
                </c:pt>
                <c:pt idx="540">
                  <c:v>1387.819257299573</c:v>
                </c:pt>
                <c:pt idx="541">
                  <c:v>1383.896840010165</c:v>
                </c:pt>
                <c:pt idx="542">
                  <c:v>1379.988420235153</c:v>
                </c:pt>
                <c:pt idx="543">
                  <c:v>1376.093937648526</c:v>
                </c:pt>
                <c:pt idx="544">
                  <c:v>1372.213332228905</c:v>
                </c:pt>
                <c:pt idx="545">
                  <c:v>1368.346544257787</c:v>
                </c:pt>
                <c:pt idx="546">
                  <c:v>1364.49351431778</c:v>
                </c:pt>
                <c:pt idx="547">
                  <c:v>1360.654183290889</c:v>
                </c:pt>
                <c:pt idx="548">
                  <c:v>1356.828492356748</c:v>
                </c:pt>
                <c:pt idx="549">
                  <c:v>1353.016382990952</c:v>
                </c:pt>
                <c:pt idx="550">
                  <c:v>1349.217796963295</c:v>
                </c:pt>
                <c:pt idx="551">
                  <c:v>1345.43267633613</c:v>
                </c:pt>
                <c:pt idx="552">
                  <c:v>1341.66096346263</c:v>
                </c:pt>
                <c:pt idx="553">
                  <c:v>1337.902600985158</c:v>
                </c:pt>
                <c:pt idx="554">
                  <c:v>1334.15753183357</c:v>
                </c:pt>
                <c:pt idx="555">
                  <c:v>1330.425699223605</c:v>
                </c:pt>
                <c:pt idx="556">
                  <c:v>1326.7070466552</c:v>
                </c:pt>
                <c:pt idx="557">
                  <c:v>1323.00151791087</c:v>
                </c:pt>
                <c:pt idx="558">
                  <c:v>1319.309057054124</c:v>
                </c:pt>
                <c:pt idx="559">
                  <c:v>1315.6296084278</c:v>
                </c:pt>
                <c:pt idx="560">
                  <c:v>1311.963116652503</c:v>
                </c:pt>
                <c:pt idx="561">
                  <c:v>1308.309526625</c:v>
                </c:pt>
                <c:pt idx="562">
                  <c:v>1304.668783516656</c:v>
                </c:pt>
                <c:pt idx="563">
                  <c:v>1301.040832771844</c:v>
                </c:pt>
                <c:pt idx="564">
                  <c:v>1297.425620106421</c:v>
                </c:pt>
                <c:pt idx="565">
                  <c:v>1293.823091506124</c:v>
                </c:pt>
                <c:pt idx="566">
                  <c:v>1290.23319322509</c:v>
                </c:pt>
                <c:pt idx="567">
                  <c:v>1286.6558717843</c:v>
                </c:pt>
                <c:pt idx="568">
                  <c:v>1283.091073970041</c:v>
                </c:pt>
                <c:pt idx="569">
                  <c:v>1279.538746832443</c:v>
                </c:pt>
                <c:pt idx="570">
                  <c:v>1275.998837683943</c:v>
                </c:pt>
                <c:pt idx="571">
                  <c:v>1272.471294097818</c:v>
                </c:pt>
                <c:pt idx="572">
                  <c:v>1268.956063906675</c:v>
                </c:pt>
                <c:pt idx="573">
                  <c:v>1265.453095201014</c:v>
                </c:pt>
                <c:pt idx="574">
                  <c:v>1261.962336327752</c:v>
                </c:pt>
                <c:pt idx="575">
                  <c:v>1258.483735888757</c:v>
                </c:pt>
                <c:pt idx="576">
                  <c:v>1255.017242739438</c:v>
                </c:pt>
                <c:pt idx="577">
                  <c:v>1251.562805987277</c:v>
                </c:pt>
                <c:pt idx="578">
                  <c:v>1248.12037499043</c:v>
                </c:pt>
                <c:pt idx="579">
                  <c:v>1244.689899356298</c:v>
                </c:pt>
                <c:pt idx="580">
                  <c:v>1241.271328940126</c:v>
                </c:pt>
                <c:pt idx="581">
                  <c:v>1237.864613843597</c:v>
                </c:pt>
                <c:pt idx="582">
                  <c:v>1234.469704413468</c:v>
                </c:pt>
                <c:pt idx="583">
                  <c:v>1231.08655124016</c:v>
                </c:pt>
                <c:pt idx="584">
                  <c:v>1227.715105156402</c:v>
                </c:pt>
                <c:pt idx="585">
                  <c:v>1224.355317235862</c:v>
                </c:pt>
                <c:pt idx="586">
                  <c:v>1221.007138791809</c:v>
                </c:pt>
                <c:pt idx="587">
                  <c:v>1217.67052137576</c:v>
                </c:pt>
                <c:pt idx="588">
                  <c:v>1214.345416776118</c:v>
                </c:pt>
                <c:pt idx="589">
                  <c:v>1211.0317770169</c:v>
                </c:pt>
                <c:pt idx="590">
                  <c:v>1207.729554356358</c:v>
                </c:pt>
                <c:pt idx="591">
                  <c:v>1204.438701285708</c:v>
                </c:pt>
                <c:pt idx="592">
                  <c:v>1201.159170527803</c:v>
                </c:pt>
                <c:pt idx="593">
                  <c:v>1197.890915035863</c:v>
                </c:pt>
                <c:pt idx="594">
                  <c:v>1194.633887992156</c:v>
                </c:pt>
                <c:pt idx="595">
                  <c:v>1191.388042806756</c:v>
                </c:pt>
                <c:pt idx="596">
                  <c:v>1188.153333116231</c:v>
                </c:pt>
                <c:pt idx="597">
                  <c:v>1184.92971278243</c:v>
                </c:pt>
                <c:pt idx="598">
                  <c:v>1181.717135891176</c:v>
                </c:pt>
                <c:pt idx="599">
                  <c:v>1178.51555675106</c:v>
                </c:pt>
                <c:pt idx="600">
                  <c:v>1175.324929892188</c:v>
                </c:pt>
                <c:pt idx="601">
                  <c:v>1172.145210064938</c:v>
                </c:pt>
                <c:pt idx="602">
                  <c:v>1168.976352238752</c:v>
                </c:pt>
                <c:pt idx="603">
                  <c:v>1165.818311600927</c:v>
                </c:pt>
                <c:pt idx="604">
                  <c:v>1162.671043555375</c:v>
                </c:pt>
                <c:pt idx="605">
                  <c:v>1159.534503721468</c:v>
                </c:pt>
                <c:pt idx="606">
                  <c:v>1156.408647932792</c:v>
                </c:pt>
                <c:pt idx="607">
                  <c:v>1153.293432236012</c:v>
                </c:pt>
                <c:pt idx="608">
                  <c:v>1150.188812889665</c:v>
                </c:pt>
                <c:pt idx="609">
                  <c:v>1147.094746362987</c:v>
                </c:pt>
                <c:pt idx="610">
                  <c:v>1144.011189334765</c:v>
                </c:pt>
                <c:pt idx="611">
                  <c:v>1140.938098692183</c:v>
                </c:pt>
                <c:pt idx="612">
                  <c:v>1137.875431529644</c:v>
                </c:pt>
                <c:pt idx="613">
                  <c:v>1134.82314514766</c:v>
                </c:pt>
                <c:pt idx="614">
                  <c:v>1131.781197051698</c:v>
                </c:pt>
                <c:pt idx="615">
                  <c:v>1128.749544951063</c:v>
                </c:pt>
                <c:pt idx="616">
                  <c:v>1125.728146757776</c:v>
                </c:pt>
                <c:pt idx="617">
                  <c:v>1122.716960585443</c:v>
                </c:pt>
                <c:pt idx="618">
                  <c:v>1119.715944748182</c:v>
                </c:pt>
                <c:pt idx="619">
                  <c:v>1116.72505775949</c:v>
                </c:pt>
                <c:pt idx="620">
                  <c:v>1113.744258331155</c:v>
                </c:pt>
                <c:pt idx="621">
                  <c:v>1110.7735053722</c:v>
                </c:pt>
                <c:pt idx="622">
                  <c:v>1107.812757987758</c:v>
                </c:pt>
                <c:pt idx="623">
                  <c:v>1104.86197547803</c:v>
                </c:pt>
                <c:pt idx="624">
                  <c:v>1101.92111733721</c:v>
                </c:pt>
                <c:pt idx="625">
                  <c:v>1098.990143252417</c:v>
                </c:pt>
                <c:pt idx="626">
                  <c:v>1096.069013102663</c:v>
                </c:pt>
                <c:pt idx="627">
                  <c:v>1093.157686957782</c:v>
                </c:pt>
                <c:pt idx="628">
                  <c:v>1090.256125077396</c:v>
                </c:pt>
                <c:pt idx="629">
                  <c:v>1087.364287909887</c:v>
                </c:pt>
                <c:pt idx="630">
                  <c:v>1084.482136091369</c:v>
                </c:pt>
                <c:pt idx="631">
                  <c:v>1081.609630444668</c:v>
                </c:pt>
                <c:pt idx="632">
                  <c:v>1078.746731978287</c:v>
                </c:pt>
                <c:pt idx="633">
                  <c:v>1075.893401885431</c:v>
                </c:pt>
                <c:pt idx="634">
                  <c:v>1073.049601542975</c:v>
                </c:pt>
                <c:pt idx="635">
                  <c:v>1070.215292510475</c:v>
                </c:pt>
                <c:pt idx="636">
                  <c:v>1067.390436529194</c:v>
                </c:pt>
                <c:pt idx="637">
                  <c:v>1064.574995521091</c:v>
                </c:pt>
                <c:pt idx="638">
                  <c:v>1061.76893158786</c:v>
                </c:pt>
                <c:pt idx="639">
                  <c:v>1058.972207009957</c:v>
                </c:pt>
                <c:pt idx="640">
                  <c:v>1056.18478424562</c:v>
                </c:pt>
                <c:pt idx="641">
                  <c:v>1053.40662592993</c:v>
                </c:pt>
                <c:pt idx="642">
                  <c:v>1050.637694873827</c:v>
                </c:pt>
                <c:pt idx="643">
                  <c:v>1047.877954063201</c:v>
                </c:pt>
                <c:pt idx="644">
                  <c:v>1045.127366657905</c:v>
                </c:pt>
                <c:pt idx="645">
                  <c:v>1042.385895990846</c:v>
                </c:pt>
                <c:pt idx="646">
                  <c:v>1039.653505567045</c:v>
                </c:pt>
                <c:pt idx="647">
                  <c:v>1036.930159062713</c:v>
                </c:pt>
                <c:pt idx="648">
                  <c:v>1034.215820324324</c:v>
                </c:pt>
                <c:pt idx="649">
                  <c:v>1031.510453367705</c:v>
                </c:pt>
                <c:pt idx="650">
                  <c:v>1028.81402237713</c:v>
                </c:pt>
                <c:pt idx="651">
                  <c:v>1026.12649170441</c:v>
                </c:pt>
                <c:pt idx="652">
                  <c:v>1023.447825868</c:v>
                </c:pt>
                <c:pt idx="653">
                  <c:v>1020.777989552092</c:v>
                </c:pt>
                <c:pt idx="654">
                  <c:v>1018.116947605748</c:v>
                </c:pt>
                <c:pt idx="655">
                  <c:v>1015.464665042004</c:v>
                </c:pt>
                <c:pt idx="656">
                  <c:v>1012.821107037008</c:v>
                </c:pt>
                <c:pt idx="657">
                  <c:v>1010.186238929114</c:v>
                </c:pt>
                <c:pt idx="658">
                  <c:v>1007.560026218056</c:v>
                </c:pt>
                <c:pt idx="659">
                  <c:v>1004.94243456407</c:v>
                </c:pt>
                <c:pt idx="660">
                  <c:v>1002.333429787025</c:v>
                </c:pt>
                <c:pt idx="661">
                  <c:v>999.7329778656016</c:v>
                </c:pt>
                <c:pt idx="662">
                  <c:v>997.1410449364162</c:v>
                </c:pt>
                <c:pt idx="663">
                  <c:v>994.5575972931962</c:v>
                </c:pt>
                <c:pt idx="664">
                  <c:v>991.9826013859495</c:v>
                </c:pt>
                <c:pt idx="665">
                  <c:v>989.4160238201143</c:v>
                </c:pt>
                <c:pt idx="666">
                  <c:v>986.8578313557579</c:v>
                </c:pt>
                <c:pt idx="667">
                  <c:v>984.3079909067313</c:v>
                </c:pt>
                <c:pt idx="668">
                  <c:v>981.7664695398715</c:v>
                </c:pt>
                <c:pt idx="669">
                  <c:v>979.233234474187</c:v>
                </c:pt>
                <c:pt idx="670">
                  <c:v>976.7082530800459</c:v>
                </c:pt>
                <c:pt idx="671">
                  <c:v>974.191492878377</c:v>
                </c:pt>
                <c:pt idx="672">
                  <c:v>971.6829215398848</c:v>
                </c:pt>
                <c:pt idx="673">
                  <c:v>969.1825068842224</c:v>
                </c:pt>
                <c:pt idx="674">
                  <c:v>966.6902168792666</c:v>
                </c:pt>
                <c:pt idx="675">
                  <c:v>964.2060196402684</c:v>
                </c:pt>
                <c:pt idx="676">
                  <c:v>961.729883429115</c:v>
                </c:pt>
                <c:pt idx="677">
                  <c:v>959.2617766535483</c:v>
                </c:pt>
                <c:pt idx="678">
                  <c:v>956.8016678663998</c:v>
                </c:pt>
                <c:pt idx="679">
                  <c:v>954.3495257648174</c:v>
                </c:pt>
                <c:pt idx="680">
                  <c:v>951.9053191895139</c:v>
                </c:pt>
                <c:pt idx="681">
                  <c:v>949.469017124002</c:v>
                </c:pt>
                <c:pt idx="682">
                  <c:v>947.0405886938669</c:v>
                </c:pt>
                <c:pt idx="683">
                  <c:v>944.6200031659884</c:v>
                </c:pt>
                <c:pt idx="684">
                  <c:v>942.2072299478234</c:v>
                </c:pt>
                <c:pt idx="685">
                  <c:v>939.8022385866622</c:v>
                </c:pt>
                <c:pt idx="686">
                  <c:v>937.4049987688986</c:v>
                </c:pt>
                <c:pt idx="687">
                  <c:v>935.0154803192897</c:v>
                </c:pt>
                <c:pt idx="688">
                  <c:v>932.633653200243</c:v>
                </c:pt>
                <c:pt idx="689">
                  <c:v>930.259487511098</c:v>
                </c:pt>
                <c:pt idx="690">
                  <c:v>927.8929534873994</c:v>
                </c:pt>
                <c:pt idx="691">
                  <c:v>925.5340215001996</c:v>
                </c:pt>
                <c:pt idx="692">
                  <c:v>923.182662055338</c:v>
                </c:pt>
                <c:pt idx="693">
                  <c:v>920.8388457927474</c:v>
                </c:pt>
                <c:pt idx="694">
                  <c:v>918.5025434857477</c:v>
                </c:pt>
                <c:pt idx="695">
                  <c:v>916.173726040373</c:v>
                </c:pt>
                <c:pt idx="696">
                  <c:v>913.8523644946368</c:v>
                </c:pt>
                <c:pt idx="697">
                  <c:v>911.538430017892</c:v>
                </c:pt>
                <c:pt idx="698">
                  <c:v>909.231893910123</c:v>
                </c:pt>
                <c:pt idx="699">
                  <c:v>906.9327276012663</c:v>
                </c:pt>
                <c:pt idx="700">
                  <c:v>904.6409026505496</c:v>
                </c:pt>
                <c:pt idx="701">
                  <c:v>902.3563907458129</c:v>
                </c:pt>
                <c:pt idx="702">
                  <c:v>900.0791637028434</c:v>
                </c:pt>
                <c:pt idx="703">
                  <c:v>897.8091934646999</c:v>
                </c:pt>
                <c:pt idx="704">
                  <c:v>895.5464521010803</c:v>
                </c:pt>
                <c:pt idx="705">
                  <c:v>893.290911807647</c:v>
                </c:pt>
                <c:pt idx="706">
                  <c:v>891.0425449053744</c:v>
                </c:pt>
                <c:pt idx="707">
                  <c:v>888.8013238399126</c:v>
                </c:pt>
                <c:pt idx="708">
                  <c:v>886.5672211809374</c:v>
                </c:pt>
                <c:pt idx="709">
                  <c:v>884.3402096215164</c:v>
                </c:pt>
                <c:pt idx="710">
                  <c:v>882.1202619774582</c:v>
                </c:pt>
                <c:pt idx="711">
                  <c:v>879.9073511866894</c:v>
                </c:pt>
                <c:pt idx="712">
                  <c:v>877.7014503086347</c:v>
                </c:pt>
                <c:pt idx="713">
                  <c:v>875.5025325235711</c:v>
                </c:pt>
                <c:pt idx="714">
                  <c:v>873.3105711320244</c:v>
                </c:pt>
                <c:pt idx="715">
                  <c:v>871.1255395541455</c:v>
                </c:pt>
                <c:pt idx="716">
                  <c:v>868.9474113290878</c:v>
                </c:pt>
                <c:pt idx="717">
                  <c:v>866.7761601144074</c:v>
                </c:pt>
                <c:pt idx="718">
                  <c:v>864.6117596854544</c:v>
                </c:pt>
                <c:pt idx="719">
                  <c:v>862.4541839347604</c:v>
                </c:pt>
                <c:pt idx="720">
                  <c:v>860.3034068714518</c:v>
                </c:pt>
                <c:pt idx="721">
                  <c:v>858.159402620633</c:v>
                </c:pt>
                <c:pt idx="722">
                  <c:v>856.0221454228154</c:v>
                </c:pt>
                <c:pt idx="723">
                  <c:v>853.8916096333127</c:v>
                </c:pt>
                <c:pt idx="724">
                  <c:v>851.7677697216634</c:v>
                </c:pt>
                <c:pt idx="725">
                  <c:v>849.6506002710342</c:v>
                </c:pt>
                <c:pt idx="726">
                  <c:v>847.540075977657</c:v>
                </c:pt>
                <c:pt idx="727">
                  <c:v>845.4361716502383</c:v>
                </c:pt>
                <c:pt idx="728">
                  <c:v>843.3388622093946</c:v>
                </c:pt>
                <c:pt idx="729">
                  <c:v>841.248122687086</c:v>
                </c:pt>
                <c:pt idx="730">
                  <c:v>839.1639282260243</c:v>
                </c:pt>
                <c:pt idx="731">
                  <c:v>837.0862540791515</c:v>
                </c:pt>
                <c:pt idx="732">
                  <c:v>835.015075609043</c:v>
                </c:pt>
                <c:pt idx="733">
                  <c:v>832.9503682873616</c:v>
                </c:pt>
                <c:pt idx="734">
                  <c:v>830.8921076943224</c:v>
                </c:pt>
                <c:pt idx="735">
                  <c:v>828.8402695181084</c:v>
                </c:pt>
                <c:pt idx="736">
                  <c:v>826.7948295543535</c:v>
                </c:pt>
                <c:pt idx="737">
                  <c:v>824.7557637055751</c:v>
                </c:pt>
                <c:pt idx="738">
                  <c:v>822.723047980656</c:v>
                </c:pt>
                <c:pt idx="739">
                  <c:v>820.6966584942793</c:v>
                </c:pt>
                <c:pt idx="740">
                  <c:v>818.6765714664206</c:v>
                </c:pt>
                <c:pt idx="741">
                  <c:v>816.6627632217956</c:v>
                </c:pt>
                <c:pt idx="742">
                  <c:v>814.6552101893391</c:v>
                </c:pt>
                <c:pt idx="743">
                  <c:v>812.653888901681</c:v>
                </c:pt>
                <c:pt idx="744">
                  <c:v>810.65877599462</c:v>
                </c:pt>
                <c:pt idx="745">
                  <c:v>808.6698482066085</c:v>
                </c:pt>
                <c:pt idx="746">
                  <c:v>806.6870823782205</c:v>
                </c:pt>
                <c:pt idx="747">
                  <c:v>804.7104554516597</c:v>
                </c:pt>
                <c:pt idx="748">
                  <c:v>802.73994447023</c:v>
                </c:pt>
                <c:pt idx="749">
                  <c:v>800.775526577846</c:v>
                </c:pt>
                <c:pt idx="750">
                  <c:v>798.8171790184979</c:v>
                </c:pt>
                <c:pt idx="751">
                  <c:v>796.8648791357823</c:v>
                </c:pt>
                <c:pt idx="752">
                  <c:v>794.9186043723805</c:v>
                </c:pt>
                <c:pt idx="753">
                  <c:v>792.978332269573</c:v>
                </c:pt>
                <c:pt idx="754">
                  <c:v>791.0440404667311</c:v>
                </c:pt>
                <c:pt idx="755">
                  <c:v>789.1157067008492</c:v>
                </c:pt>
                <c:pt idx="756">
                  <c:v>787.1933088060295</c:v>
                </c:pt>
                <c:pt idx="757">
                  <c:v>785.2768247130206</c:v>
                </c:pt>
                <c:pt idx="758">
                  <c:v>783.3662324487124</c:v>
                </c:pt>
                <c:pt idx="759">
                  <c:v>781.4615101356788</c:v>
                </c:pt>
                <c:pt idx="760">
                  <c:v>779.5626359916769</c:v>
                </c:pt>
                <c:pt idx="761">
                  <c:v>777.6695883291898</c:v>
                </c:pt>
                <c:pt idx="762">
                  <c:v>775.782345554946</c:v>
                </c:pt>
                <c:pt idx="763">
                  <c:v>773.9008861694471</c:v>
                </c:pt>
                <c:pt idx="764">
                  <c:v>772.0251887665158</c:v>
                </c:pt>
                <c:pt idx="765">
                  <c:v>770.155232032811</c:v>
                </c:pt>
                <c:pt idx="766">
                  <c:v>768.290994747385</c:v>
                </c:pt>
                <c:pt idx="767">
                  <c:v>766.4324557812021</c:v>
                </c:pt>
                <c:pt idx="768">
                  <c:v>764.5795940967188</c:v>
                </c:pt>
                <c:pt idx="769">
                  <c:v>762.7323887473805</c:v>
                </c:pt>
                <c:pt idx="770">
                  <c:v>760.8908188772128</c:v>
                </c:pt>
                <c:pt idx="771">
                  <c:v>759.054863720356</c:v>
                </c:pt>
                <c:pt idx="772">
                  <c:v>757.2245026006097</c:v>
                </c:pt>
                <c:pt idx="773">
                  <c:v>755.3997149310075</c:v>
                </c:pt>
                <c:pt idx="774">
                  <c:v>753.580480213357</c:v>
                </c:pt>
                <c:pt idx="775">
                  <c:v>751.766778037818</c:v>
                </c:pt>
                <c:pt idx="776">
                  <c:v>749.958588082455</c:v>
                </c:pt>
                <c:pt idx="777">
                  <c:v>748.1558901128061</c:v>
                </c:pt>
                <c:pt idx="778">
                  <c:v>746.3586639814472</c:v>
                </c:pt>
                <c:pt idx="779">
                  <c:v>744.566889627578</c:v>
                </c:pt>
                <c:pt idx="780">
                  <c:v>742.780547076568</c:v>
                </c:pt>
                <c:pt idx="781">
                  <c:v>740.9996164395594</c:v>
                </c:pt>
                <c:pt idx="782">
                  <c:v>739.2240779130345</c:v>
                </c:pt>
                <c:pt idx="783">
                  <c:v>737.4539117783856</c:v>
                </c:pt>
                <c:pt idx="784">
                  <c:v>735.6890984015125</c:v>
                </c:pt>
                <c:pt idx="785">
                  <c:v>733.9296182324064</c:v>
                </c:pt>
                <c:pt idx="786">
                  <c:v>732.175451804725</c:v>
                </c:pt>
                <c:pt idx="787">
                  <c:v>730.4265797353853</c:v>
                </c:pt>
                <c:pt idx="788">
                  <c:v>728.6829827241755</c:v>
                </c:pt>
                <c:pt idx="789">
                  <c:v>726.9446415533121</c:v>
                </c:pt>
                <c:pt idx="790">
                  <c:v>725.2115370870752</c:v>
                </c:pt>
                <c:pt idx="791">
                  <c:v>723.483650271377</c:v>
                </c:pt>
                <c:pt idx="792">
                  <c:v>721.7609621333767</c:v>
                </c:pt>
                <c:pt idx="793">
                  <c:v>720.0434537810793</c:v>
                </c:pt>
                <c:pt idx="794">
                  <c:v>718.3311064029461</c:v>
                </c:pt>
                <c:pt idx="795">
                  <c:v>716.623901267498</c:v>
                </c:pt>
                <c:pt idx="796">
                  <c:v>714.9218197229111</c:v>
                </c:pt>
                <c:pt idx="797">
                  <c:v>713.224843196662</c:v>
                </c:pt>
                <c:pt idx="798">
                  <c:v>711.5329531951043</c:v>
                </c:pt>
                <c:pt idx="799">
                  <c:v>709.8461313031153</c:v>
                </c:pt>
                <c:pt idx="800">
                  <c:v>708.1643591836843</c:v>
                </c:pt>
                <c:pt idx="801">
                  <c:v>706.4876185775594</c:v>
                </c:pt>
                <c:pt idx="802">
                  <c:v>704.8158913028543</c:v>
                </c:pt>
                <c:pt idx="803">
                  <c:v>703.1491592546788</c:v>
                </c:pt>
                <c:pt idx="804">
                  <c:v>701.4874044047542</c:v>
                </c:pt>
                <c:pt idx="805">
                  <c:v>699.8306088010663</c:v>
                </c:pt>
                <c:pt idx="806">
                  <c:v>698.178754567466</c:v>
                </c:pt>
                <c:pt idx="807">
                  <c:v>696.5318239033129</c:v>
                </c:pt>
                <c:pt idx="808">
                  <c:v>694.8897990831221</c:v>
                </c:pt>
                <c:pt idx="809">
                  <c:v>693.2526624561843</c:v>
                </c:pt>
                <c:pt idx="810">
                  <c:v>691.6203964462093</c:v>
                </c:pt>
                <c:pt idx="811">
                  <c:v>689.9929835509711</c:v>
                </c:pt>
                <c:pt idx="812">
                  <c:v>688.3704063419397</c:v>
                </c:pt>
                <c:pt idx="813">
                  <c:v>686.7526474639324</c:v>
                </c:pt>
                <c:pt idx="814">
                  <c:v>685.1396896347634</c:v>
                </c:pt>
                <c:pt idx="815">
                  <c:v>683.5315156448893</c:v>
                </c:pt>
                <c:pt idx="816">
                  <c:v>681.9281083570465</c:v>
                </c:pt>
                <c:pt idx="817">
                  <c:v>680.3294507059209</c:v>
                </c:pt>
                <c:pt idx="818">
                  <c:v>678.7355256977994</c:v>
                </c:pt>
                <c:pt idx="819">
                  <c:v>677.1463164102041</c:v>
                </c:pt>
                <c:pt idx="820">
                  <c:v>675.5618059915871</c:v>
                </c:pt>
                <c:pt idx="821">
                  <c:v>673.9819776609498</c:v>
                </c:pt>
                <c:pt idx="822">
                  <c:v>672.4068147075383</c:v>
                </c:pt>
                <c:pt idx="823">
                  <c:v>670.8363004904839</c:v>
                </c:pt>
                <c:pt idx="824">
                  <c:v>669.2704184384765</c:v>
                </c:pt>
                <c:pt idx="825">
                  <c:v>667.7091520494293</c:v>
                </c:pt>
                <c:pt idx="826">
                  <c:v>666.152484890152</c:v>
                </c:pt>
                <c:pt idx="827">
                  <c:v>664.600400596012</c:v>
                </c:pt>
                <c:pt idx="828">
                  <c:v>663.0528828706161</c:v>
                </c:pt>
                <c:pt idx="829">
                  <c:v>661.5099154854773</c:v>
                </c:pt>
                <c:pt idx="830">
                  <c:v>659.971482279696</c:v>
                </c:pt>
                <c:pt idx="831">
                  <c:v>658.4375671596287</c:v>
                </c:pt>
                <c:pt idx="832">
                  <c:v>656.90815409858</c:v>
                </c:pt>
                <c:pt idx="833">
                  <c:v>655.3832271364679</c:v>
                </c:pt>
                <c:pt idx="834">
                  <c:v>653.862770379522</c:v>
                </c:pt>
                <c:pt idx="835">
                  <c:v>652.3467679999561</c:v>
                </c:pt>
                <c:pt idx="836">
                  <c:v>650.8352042356594</c:v>
                </c:pt>
                <c:pt idx="837">
                  <c:v>649.3280633898792</c:v>
                </c:pt>
                <c:pt idx="838">
                  <c:v>647.8253298309158</c:v>
                </c:pt>
                <c:pt idx="839">
                  <c:v>646.3269879918194</c:v>
                </c:pt>
                <c:pt idx="840">
                  <c:v>644.8330223700631</c:v>
                </c:pt>
                <c:pt idx="841">
                  <c:v>643.3434175272516</c:v>
                </c:pt>
                <c:pt idx="842">
                  <c:v>641.8581580888164</c:v>
                </c:pt>
                <c:pt idx="843">
                  <c:v>640.3772287437072</c:v>
                </c:pt>
                <c:pt idx="844">
                  <c:v>638.9006142441074</c:v>
                </c:pt>
                <c:pt idx="845">
                  <c:v>637.4282994051014</c:v>
                </c:pt>
                <c:pt idx="846">
                  <c:v>635.9602691044109</c:v>
                </c:pt>
                <c:pt idx="847">
                  <c:v>634.4965082820923</c:v>
                </c:pt>
                <c:pt idx="848">
                  <c:v>633.0370019402194</c:v>
                </c:pt>
                <c:pt idx="849">
                  <c:v>631.5817351426136</c:v>
                </c:pt>
                <c:pt idx="850">
                  <c:v>630.1306930145494</c:v>
                </c:pt>
                <c:pt idx="851">
                  <c:v>628.6838607424536</c:v>
                </c:pt>
                <c:pt idx="852">
                  <c:v>627.2412235736317</c:v>
                </c:pt>
                <c:pt idx="853">
                  <c:v>625.8027668159611</c:v>
                </c:pt>
                <c:pt idx="854">
                  <c:v>624.3684758376377</c:v>
                </c:pt>
                <c:pt idx="855">
                  <c:v>622.938336066851</c:v>
                </c:pt>
                <c:pt idx="856">
                  <c:v>621.5123329915399</c:v>
                </c:pt>
                <c:pt idx="857">
                  <c:v>620.0904521590884</c:v>
                </c:pt>
                <c:pt idx="858">
                  <c:v>618.672679176052</c:v>
                </c:pt>
                <c:pt idx="859">
                  <c:v>617.2589997078891</c:v>
                </c:pt>
                <c:pt idx="860">
                  <c:v>615.8493994786665</c:v>
                </c:pt>
                <c:pt idx="861">
                  <c:v>614.4438642708025</c:v>
                </c:pt>
                <c:pt idx="862">
                  <c:v>613.0423799247867</c:v>
                </c:pt>
                <c:pt idx="863">
                  <c:v>611.6449323389047</c:v>
                </c:pt>
                <c:pt idx="864">
                  <c:v>610.2515074689721</c:v>
                </c:pt>
                <c:pt idx="865">
                  <c:v>608.8620913280604</c:v>
                </c:pt>
                <c:pt idx="866">
                  <c:v>607.4766699862372</c:v>
                </c:pt>
                <c:pt idx="867">
                  <c:v>606.09522957029</c:v>
                </c:pt>
                <c:pt idx="868">
                  <c:v>604.7177562634736</c:v>
                </c:pt>
                <c:pt idx="869">
                  <c:v>603.3442363052393</c:v>
                </c:pt>
                <c:pt idx="870">
                  <c:v>601.9746559909659</c:v>
                </c:pt>
                <c:pt idx="871">
                  <c:v>600.609001671713</c:v>
                </c:pt>
                <c:pt idx="872">
                  <c:v>599.247259753952</c:v>
                </c:pt>
                <c:pt idx="873">
                  <c:v>597.8894166993203</c:v>
                </c:pt>
                <c:pt idx="874">
                  <c:v>596.5354590243409</c:v>
                </c:pt>
                <c:pt idx="875">
                  <c:v>595.185373300195</c:v>
                </c:pt>
                <c:pt idx="876">
                  <c:v>593.8391461524474</c:v>
                </c:pt>
                <c:pt idx="877">
                  <c:v>592.4967642608057</c:v>
                </c:pt>
                <c:pt idx="878">
                  <c:v>591.1582143588627</c:v>
                </c:pt>
                <c:pt idx="879">
                  <c:v>589.823483233852</c:v>
                </c:pt>
                <c:pt idx="880">
                  <c:v>588.492557726392</c:v>
                </c:pt>
                <c:pt idx="881">
                  <c:v>587.1654247302454</c:v>
                </c:pt>
                <c:pt idx="882">
                  <c:v>585.8420711920708</c:v>
                </c:pt>
                <c:pt idx="883">
                  <c:v>584.5224841111772</c:v>
                </c:pt>
                <c:pt idx="884">
                  <c:v>583.2066505392775</c:v>
                </c:pt>
                <c:pt idx="885">
                  <c:v>581.8945575802552</c:v>
                </c:pt>
                <c:pt idx="886">
                  <c:v>580.5861923899137</c:v>
                </c:pt>
                <c:pt idx="887">
                  <c:v>579.2815421757457</c:v>
                </c:pt>
                <c:pt idx="888">
                  <c:v>577.9805941966836</c:v>
                </c:pt>
                <c:pt idx="889">
                  <c:v>576.683335762875</c:v>
                </c:pt>
                <c:pt idx="890">
                  <c:v>575.3897542354334</c:v>
                </c:pt>
                <c:pt idx="891">
                  <c:v>574.099837026221</c:v>
                </c:pt>
                <c:pt idx="892">
                  <c:v>572.8135715975905</c:v>
                </c:pt>
                <c:pt idx="893">
                  <c:v>571.530945462177</c:v>
                </c:pt>
                <c:pt idx="894">
                  <c:v>570.251946182657</c:v>
                </c:pt>
                <c:pt idx="895">
                  <c:v>568.9765613715111</c:v>
                </c:pt>
                <c:pt idx="896">
                  <c:v>567.7047786908085</c:v>
                </c:pt>
                <c:pt idx="897">
                  <c:v>566.4365858519714</c:v>
                </c:pt>
                <c:pt idx="898">
                  <c:v>565.171970615553</c:v>
                </c:pt>
                <c:pt idx="899">
                  <c:v>563.910920791001</c:v>
                </c:pt>
                <c:pt idx="900">
                  <c:v>562.653424236461</c:v>
                </c:pt>
                <c:pt idx="901">
                  <c:v>561.399468858513</c:v>
                </c:pt>
                <c:pt idx="902">
                  <c:v>560.1490426119847</c:v>
                </c:pt>
                <c:pt idx="903">
                  <c:v>558.9021334997182</c:v>
                </c:pt>
                <c:pt idx="904">
                  <c:v>557.6587295723485</c:v>
                </c:pt>
                <c:pt idx="905">
                  <c:v>556.4188189280816</c:v>
                </c:pt>
                <c:pt idx="906">
                  <c:v>555.1823897124931</c:v>
                </c:pt>
                <c:pt idx="907">
                  <c:v>553.9494301182931</c:v>
                </c:pt>
                <c:pt idx="908">
                  <c:v>552.7199283851234</c:v>
                </c:pt>
                <c:pt idx="909">
                  <c:v>551.4938727993435</c:v>
                </c:pt>
                <c:pt idx="910">
                  <c:v>550.2712516938072</c:v>
                </c:pt>
                <c:pt idx="911">
                  <c:v>549.0520534476661</c:v>
                </c:pt>
                <c:pt idx="912">
                  <c:v>547.8362664861467</c:v>
                </c:pt>
                <c:pt idx="913">
                  <c:v>546.623879280348</c:v>
                </c:pt>
                <c:pt idx="914">
                  <c:v>545.4148803470245</c:v>
                </c:pt>
                <c:pt idx="915">
                  <c:v>544.209258248398</c:v>
                </c:pt>
                <c:pt idx="916">
                  <c:v>543.0070015919221</c:v>
                </c:pt>
                <c:pt idx="917">
                  <c:v>541.808099030105</c:v>
                </c:pt>
                <c:pt idx="918">
                  <c:v>540.6125392602915</c:v>
                </c:pt>
                <c:pt idx="919">
                  <c:v>539.4203110244537</c:v>
                </c:pt>
                <c:pt idx="920">
                  <c:v>538.2314031090098</c:v>
                </c:pt>
                <c:pt idx="921">
                  <c:v>537.0458043446014</c:v>
                </c:pt>
                <c:pt idx="922">
                  <c:v>535.8635036059032</c:v>
                </c:pt>
                <c:pt idx="923">
                  <c:v>534.6844898114272</c:v>
                </c:pt>
                <c:pt idx="924">
                  <c:v>533.508751923318</c:v>
                </c:pt>
                <c:pt idx="925">
                  <c:v>532.3362789471555</c:v>
                </c:pt>
                <c:pt idx="926">
                  <c:v>531.1670599317654</c:v>
                </c:pt>
                <c:pt idx="927">
                  <c:v>530.001083969023</c:v>
                </c:pt>
                <c:pt idx="928">
                  <c:v>528.8383401936512</c:v>
                </c:pt>
                <c:pt idx="929">
                  <c:v>527.678817783036</c:v>
                </c:pt>
                <c:pt idx="930">
                  <c:v>526.5225059570354</c:v>
                </c:pt>
                <c:pt idx="931">
                  <c:v>525.3693939777736</c:v>
                </c:pt>
                <c:pt idx="932">
                  <c:v>524.219471149472</c:v>
                </c:pt>
                <c:pt idx="933">
                  <c:v>523.072726818247</c:v>
                </c:pt>
                <c:pt idx="934">
                  <c:v>521.9291503719244</c:v>
                </c:pt>
                <c:pt idx="935">
                  <c:v>520.788731239851</c:v>
                </c:pt>
                <c:pt idx="936">
                  <c:v>519.6514588927095</c:v>
                </c:pt>
                <c:pt idx="937">
                  <c:v>518.5173228423414</c:v>
                </c:pt>
                <c:pt idx="938">
                  <c:v>517.38631264154</c:v>
                </c:pt>
                <c:pt idx="939">
                  <c:v>516.2584178838964</c:v>
                </c:pt>
                <c:pt idx="940">
                  <c:v>515.133628203593</c:v>
                </c:pt>
                <c:pt idx="941">
                  <c:v>514.0119332752344</c:v>
                </c:pt>
                <c:pt idx="942">
                  <c:v>512.8933228136607</c:v>
                </c:pt>
                <c:pt idx="943">
                  <c:v>511.7777865737766</c:v>
                </c:pt>
                <c:pt idx="944">
                  <c:v>510.6653143503592</c:v>
                </c:pt>
                <c:pt idx="945">
                  <c:v>509.5558959778922</c:v>
                </c:pt>
                <c:pt idx="946">
                  <c:v>508.4495213303811</c:v>
                </c:pt>
                <c:pt idx="947">
                  <c:v>507.346180321179</c:v>
                </c:pt>
                <c:pt idx="948">
                  <c:v>506.2458629028137</c:v>
                </c:pt>
                <c:pt idx="949">
                  <c:v>505.1485590668126</c:v>
                </c:pt>
                <c:pt idx="950">
                  <c:v>504.0542588435246</c:v>
                </c:pt>
                <c:pt idx="951">
                  <c:v>502.9629523019545</c:v>
                </c:pt>
                <c:pt idx="952">
                  <c:v>501.8746295495842</c:v>
                </c:pt>
                <c:pt idx="953">
                  <c:v>500.7892807322105</c:v>
                </c:pt>
                <c:pt idx="954">
                  <c:v>499.7068960337628</c:v>
                </c:pt>
                <c:pt idx="955">
                  <c:v>498.627465676145</c:v>
                </c:pt>
                <c:pt idx="956">
                  <c:v>497.5509799190591</c:v>
                </c:pt>
                <c:pt idx="957">
                  <c:v>496.4774290598497</c:v>
                </c:pt>
                <c:pt idx="958">
                  <c:v>495.4068034333185</c:v>
                </c:pt>
                <c:pt idx="959">
                  <c:v>494.3390934115742</c:v>
                </c:pt>
                <c:pt idx="960">
                  <c:v>493.2742894038621</c:v>
                </c:pt>
                <c:pt idx="961">
                  <c:v>492.2123818563998</c:v>
                </c:pt>
                <c:pt idx="962">
                  <c:v>491.1533612522122</c:v>
                </c:pt>
                <c:pt idx="963">
                  <c:v>490.0972181109732</c:v>
                </c:pt>
                <c:pt idx="964">
                  <c:v>489.0439429888353</c:v>
                </c:pt>
                <c:pt idx="965">
                  <c:v>487.9935264782838</c:v>
                </c:pt>
                <c:pt idx="966">
                  <c:v>486.9459592079617</c:v>
                </c:pt>
                <c:pt idx="967">
                  <c:v>485.9012318425124</c:v>
                </c:pt>
                <c:pt idx="968">
                  <c:v>484.8593350824343</c:v>
                </c:pt>
                <c:pt idx="969">
                  <c:v>483.8202596639052</c:v>
                </c:pt>
                <c:pt idx="970">
                  <c:v>482.7839963586366</c:v>
                </c:pt>
                <c:pt idx="971">
                  <c:v>481.7505359737152</c:v>
                </c:pt>
                <c:pt idx="972">
                  <c:v>480.7198693514428</c:v>
                </c:pt>
                <c:pt idx="973">
                  <c:v>479.6919873691922</c:v>
                </c:pt>
                <c:pt idx="974">
                  <c:v>478.6668809392394</c:v>
                </c:pt>
                <c:pt idx="975">
                  <c:v>477.6445410086203</c:v>
                </c:pt>
                <c:pt idx="976">
                  <c:v>476.6249585589752</c:v>
                </c:pt>
                <c:pt idx="977">
                  <c:v>475.6081246064007</c:v>
                </c:pt>
                <c:pt idx="978">
                  <c:v>474.5940302012869</c:v>
                </c:pt>
                <c:pt idx="979">
                  <c:v>473.5826664281867</c:v>
                </c:pt>
                <c:pt idx="980">
                  <c:v>472.5740244056458</c:v>
                </c:pt>
                <c:pt idx="981">
                  <c:v>471.5680952860719</c:v>
                </c:pt>
                <c:pt idx="982">
                  <c:v>470.5648702555707</c:v>
                </c:pt>
                <c:pt idx="983">
                  <c:v>469.5643405338137</c:v>
                </c:pt>
                <c:pt idx="984">
                  <c:v>468.5664973738768</c:v>
                </c:pt>
                <c:pt idx="985">
                  <c:v>467.5713320621116</c:v>
                </c:pt>
                <c:pt idx="986">
                  <c:v>466.5788359179843</c:v>
                </c:pt>
                <c:pt idx="987">
                  <c:v>465.5890002939407</c:v>
                </c:pt>
                <c:pt idx="988">
                  <c:v>464.6018165752573</c:v>
                </c:pt>
                <c:pt idx="989">
                  <c:v>463.6172761799033</c:v>
                </c:pt>
                <c:pt idx="990">
                  <c:v>462.6353705583936</c:v>
                </c:pt>
                <c:pt idx="991">
                  <c:v>461.6560911936575</c:v>
                </c:pt>
                <c:pt idx="992">
                  <c:v>460.6794296008771</c:v>
                </c:pt>
                <c:pt idx="993">
                  <c:v>459.7053773273697</c:v>
                </c:pt>
                <c:pt idx="994">
                  <c:v>458.7339259524369</c:v>
                </c:pt>
                <c:pt idx="995">
                  <c:v>457.7650670872292</c:v>
                </c:pt>
                <c:pt idx="996">
                  <c:v>456.7987923745989</c:v>
                </c:pt>
                <c:pt idx="997">
                  <c:v>455.8350934889812</c:v>
                </c:pt>
                <c:pt idx="998">
                  <c:v>454.8739621362377</c:v>
                </c:pt>
                <c:pt idx="999">
                  <c:v>453.9153900535304</c:v>
                </c:pt>
                <c:pt idx="1000">
                  <c:v>452.9593690091895</c:v>
                </c:pt>
                <c:pt idx="1001">
                  <c:v>452.0058908025694</c:v>
                </c:pt>
                <c:pt idx="1002">
                  <c:v>451.0549472639215</c:v>
                </c:pt>
                <c:pt idx="1003">
                  <c:v>450.1065302542572</c:v>
                </c:pt>
                <c:pt idx="1004">
                  <c:v>449.160631665219</c:v>
                </c:pt>
                <c:pt idx="1005">
                  <c:v>448.2172434189407</c:v>
                </c:pt>
                <c:pt idx="1006">
                  <c:v>447.2763574679261</c:v>
                </c:pt>
                <c:pt idx="1007">
                  <c:v>446.3379657949115</c:v>
                </c:pt>
                <c:pt idx="1008">
                  <c:v>445.4020604127347</c:v>
                </c:pt>
                <c:pt idx="1009">
                  <c:v>444.4686333642113</c:v>
                </c:pt>
                <c:pt idx="1010">
                  <c:v>443.537676721998</c:v>
                </c:pt>
                <c:pt idx="1011">
                  <c:v>442.60918258847</c:v>
                </c:pt>
                <c:pt idx="1012">
                  <c:v>441.6831430955942</c:v>
                </c:pt>
                <c:pt idx="1013">
                  <c:v>440.7595504047962</c:v>
                </c:pt>
                <c:pt idx="1014">
                  <c:v>439.838396706838</c:v>
                </c:pt>
                <c:pt idx="1015">
                  <c:v>438.919674221691</c:v>
                </c:pt>
                <c:pt idx="1016">
                  <c:v>438.0033751984124</c:v>
                </c:pt>
                <c:pt idx="1017">
                  <c:v>437.0894919150167</c:v>
                </c:pt>
                <c:pt idx="1018">
                  <c:v>436.1780166783554</c:v>
                </c:pt>
                <c:pt idx="1019">
                  <c:v>435.2689418239942</c:v>
                </c:pt>
                <c:pt idx="1020">
                  <c:v>434.3622597160821</c:v>
                </c:pt>
                <c:pt idx="1021">
                  <c:v>433.4579627472413</c:v>
                </c:pt>
                <c:pt idx="1022">
                  <c:v>432.5560433384393</c:v>
                </c:pt>
                <c:pt idx="1023">
                  <c:v>431.656493938862</c:v>
                </c:pt>
                <c:pt idx="1024">
                  <c:v>430.7593070258043</c:v>
                </c:pt>
                <c:pt idx="1025">
                  <c:v>429.8644751045423</c:v>
                </c:pt>
                <c:pt idx="1026">
                  <c:v>428.9719907082183</c:v>
                </c:pt>
                <c:pt idx="1027">
                  <c:v>428.08184639772</c:v>
                </c:pt>
                <c:pt idx="1028">
                  <c:v>427.1940347615596</c:v>
                </c:pt>
                <c:pt idx="1029">
                  <c:v>426.3085484157648</c:v>
                </c:pt>
                <c:pt idx="1030">
                  <c:v>425.4253800037515</c:v>
                </c:pt>
                <c:pt idx="1031">
                  <c:v>424.5445221962142</c:v>
                </c:pt>
                <c:pt idx="1032">
                  <c:v>423.6659676910044</c:v>
                </c:pt>
                <c:pt idx="1033">
                  <c:v>422.7897092130227</c:v>
                </c:pt>
                <c:pt idx="1034">
                  <c:v>421.9157395140969</c:v>
                </c:pt>
                <c:pt idx="1035">
                  <c:v>421.0440513728732</c:v>
                </c:pt>
                <c:pt idx="1036">
                  <c:v>420.1746375946954</c:v>
                </c:pt>
                <c:pt idx="1037">
                  <c:v>419.307491011501</c:v>
                </c:pt>
                <c:pt idx="1038">
                  <c:v>418.4426044817003</c:v>
                </c:pt>
                <c:pt idx="1039">
                  <c:v>417.5799708900702</c:v>
                </c:pt>
                <c:pt idx="1040">
                  <c:v>416.7195831476358</c:v>
                </c:pt>
                <c:pt idx="1041">
                  <c:v>415.8614341915681</c:v>
                </c:pt>
                <c:pt idx="1042">
                  <c:v>415.0055169850669</c:v>
                </c:pt>
                <c:pt idx="1043">
                  <c:v>414.1518245172524</c:v>
                </c:pt>
                <c:pt idx="1044">
                  <c:v>413.3003498030575</c:v>
                </c:pt>
                <c:pt idx="1045">
                  <c:v>412.4510858831171</c:v>
                </c:pt>
                <c:pt idx="1046">
                  <c:v>411.6040258236603</c:v>
                </c:pt>
                <c:pt idx="1047">
                  <c:v>410.7591627163981</c:v>
                </c:pt>
                <c:pt idx="1048">
                  <c:v>409.9164896784266</c:v>
                </c:pt>
                <c:pt idx="1049">
                  <c:v>409.0759998521091</c:v>
                </c:pt>
                <c:pt idx="1050">
                  <c:v>408.2376864049789</c:v>
                </c:pt>
              </c:numCache>
            </c:numRef>
          </c:xVal>
          <c:yVal>
            <c:numRef>
              <c:f>Roze!$D$2:$D$1052</c:f>
              <c:numCache>
                <c:formatCode>General</c:formatCode>
                <c:ptCount val="1051"/>
                <c:pt idx="0">
                  <c:v>800.0</c:v>
                </c:pt>
                <c:pt idx="1">
                  <c:v>801.0</c:v>
                </c:pt>
                <c:pt idx="2">
                  <c:v>802.0</c:v>
                </c:pt>
                <c:pt idx="3">
                  <c:v>803.0</c:v>
                </c:pt>
                <c:pt idx="4">
                  <c:v>804.0</c:v>
                </c:pt>
                <c:pt idx="5">
                  <c:v>805.0</c:v>
                </c:pt>
                <c:pt idx="6">
                  <c:v>806.0</c:v>
                </c:pt>
                <c:pt idx="7">
                  <c:v>807.0</c:v>
                </c:pt>
                <c:pt idx="8">
                  <c:v>808.0</c:v>
                </c:pt>
                <c:pt idx="9">
                  <c:v>809.0</c:v>
                </c:pt>
                <c:pt idx="10">
                  <c:v>810.0</c:v>
                </c:pt>
                <c:pt idx="11">
                  <c:v>811.0</c:v>
                </c:pt>
                <c:pt idx="12">
                  <c:v>812.0</c:v>
                </c:pt>
                <c:pt idx="13">
                  <c:v>813.0</c:v>
                </c:pt>
                <c:pt idx="14">
                  <c:v>814.0</c:v>
                </c:pt>
                <c:pt idx="15">
                  <c:v>815.0</c:v>
                </c:pt>
                <c:pt idx="16">
                  <c:v>816.0</c:v>
                </c:pt>
                <c:pt idx="17">
                  <c:v>817.0</c:v>
                </c:pt>
                <c:pt idx="18">
                  <c:v>818.0</c:v>
                </c:pt>
                <c:pt idx="19">
                  <c:v>819.0</c:v>
                </c:pt>
                <c:pt idx="20">
                  <c:v>820.0</c:v>
                </c:pt>
                <c:pt idx="21">
                  <c:v>821.0</c:v>
                </c:pt>
                <c:pt idx="22">
                  <c:v>822.0</c:v>
                </c:pt>
                <c:pt idx="23">
                  <c:v>823.0</c:v>
                </c:pt>
                <c:pt idx="24">
                  <c:v>824.0</c:v>
                </c:pt>
                <c:pt idx="25">
                  <c:v>825.0</c:v>
                </c:pt>
                <c:pt idx="26">
                  <c:v>826.0</c:v>
                </c:pt>
                <c:pt idx="27">
                  <c:v>827.0</c:v>
                </c:pt>
                <c:pt idx="28">
                  <c:v>828.0</c:v>
                </c:pt>
                <c:pt idx="29">
                  <c:v>829.0</c:v>
                </c:pt>
                <c:pt idx="30">
                  <c:v>830.0</c:v>
                </c:pt>
                <c:pt idx="31">
                  <c:v>831.0</c:v>
                </c:pt>
                <c:pt idx="32">
                  <c:v>832.0</c:v>
                </c:pt>
                <c:pt idx="33">
                  <c:v>833.0</c:v>
                </c:pt>
                <c:pt idx="34">
                  <c:v>834.0</c:v>
                </c:pt>
                <c:pt idx="35">
                  <c:v>835.0</c:v>
                </c:pt>
                <c:pt idx="36">
                  <c:v>836.0</c:v>
                </c:pt>
                <c:pt idx="37">
                  <c:v>837.0</c:v>
                </c:pt>
                <c:pt idx="38">
                  <c:v>838.0</c:v>
                </c:pt>
                <c:pt idx="39">
                  <c:v>839.0</c:v>
                </c:pt>
                <c:pt idx="40">
                  <c:v>840.0</c:v>
                </c:pt>
                <c:pt idx="41">
                  <c:v>841.0</c:v>
                </c:pt>
                <c:pt idx="42">
                  <c:v>842.0</c:v>
                </c:pt>
                <c:pt idx="43">
                  <c:v>843.0</c:v>
                </c:pt>
                <c:pt idx="44">
                  <c:v>844.0</c:v>
                </c:pt>
                <c:pt idx="45">
                  <c:v>845.0</c:v>
                </c:pt>
                <c:pt idx="46">
                  <c:v>846.0</c:v>
                </c:pt>
                <c:pt idx="47">
                  <c:v>847.0</c:v>
                </c:pt>
                <c:pt idx="48">
                  <c:v>848.0</c:v>
                </c:pt>
                <c:pt idx="49">
                  <c:v>849.0</c:v>
                </c:pt>
                <c:pt idx="50">
                  <c:v>850.0</c:v>
                </c:pt>
                <c:pt idx="51">
                  <c:v>851.0</c:v>
                </c:pt>
                <c:pt idx="52">
                  <c:v>852.0</c:v>
                </c:pt>
                <c:pt idx="53">
                  <c:v>853.0</c:v>
                </c:pt>
                <c:pt idx="54">
                  <c:v>854.0</c:v>
                </c:pt>
                <c:pt idx="55">
                  <c:v>855.0</c:v>
                </c:pt>
                <c:pt idx="56">
                  <c:v>856.0</c:v>
                </c:pt>
                <c:pt idx="57">
                  <c:v>857.0</c:v>
                </c:pt>
                <c:pt idx="58">
                  <c:v>858.0</c:v>
                </c:pt>
                <c:pt idx="59">
                  <c:v>859.0</c:v>
                </c:pt>
                <c:pt idx="60">
                  <c:v>860.0</c:v>
                </c:pt>
                <c:pt idx="61">
                  <c:v>861.0</c:v>
                </c:pt>
                <c:pt idx="62">
                  <c:v>862.0</c:v>
                </c:pt>
                <c:pt idx="63">
                  <c:v>863.0</c:v>
                </c:pt>
                <c:pt idx="64">
                  <c:v>864.0</c:v>
                </c:pt>
                <c:pt idx="65">
                  <c:v>865.0</c:v>
                </c:pt>
                <c:pt idx="66">
                  <c:v>866.0</c:v>
                </c:pt>
                <c:pt idx="67">
                  <c:v>867.0</c:v>
                </c:pt>
                <c:pt idx="68">
                  <c:v>868.0</c:v>
                </c:pt>
                <c:pt idx="69">
                  <c:v>869.0</c:v>
                </c:pt>
                <c:pt idx="70">
                  <c:v>870.0</c:v>
                </c:pt>
                <c:pt idx="71">
                  <c:v>871.0</c:v>
                </c:pt>
                <c:pt idx="72">
                  <c:v>872.0</c:v>
                </c:pt>
                <c:pt idx="73">
                  <c:v>873.0</c:v>
                </c:pt>
                <c:pt idx="74">
                  <c:v>874.0</c:v>
                </c:pt>
                <c:pt idx="75">
                  <c:v>875.0</c:v>
                </c:pt>
                <c:pt idx="76">
                  <c:v>876.0</c:v>
                </c:pt>
                <c:pt idx="77">
                  <c:v>877.0</c:v>
                </c:pt>
                <c:pt idx="78">
                  <c:v>878.0</c:v>
                </c:pt>
                <c:pt idx="79">
                  <c:v>879.0</c:v>
                </c:pt>
                <c:pt idx="80">
                  <c:v>880.0</c:v>
                </c:pt>
                <c:pt idx="81">
                  <c:v>881.0</c:v>
                </c:pt>
                <c:pt idx="82">
                  <c:v>882.0</c:v>
                </c:pt>
                <c:pt idx="83">
                  <c:v>883.0</c:v>
                </c:pt>
                <c:pt idx="84">
                  <c:v>884.0</c:v>
                </c:pt>
                <c:pt idx="85">
                  <c:v>885.0</c:v>
                </c:pt>
                <c:pt idx="86">
                  <c:v>886.0</c:v>
                </c:pt>
                <c:pt idx="87">
                  <c:v>887.0</c:v>
                </c:pt>
                <c:pt idx="88">
                  <c:v>888.0</c:v>
                </c:pt>
                <c:pt idx="89">
                  <c:v>889.0</c:v>
                </c:pt>
                <c:pt idx="90">
                  <c:v>890.0</c:v>
                </c:pt>
                <c:pt idx="91">
                  <c:v>891.0</c:v>
                </c:pt>
                <c:pt idx="92">
                  <c:v>892.0</c:v>
                </c:pt>
                <c:pt idx="93">
                  <c:v>893.0</c:v>
                </c:pt>
                <c:pt idx="94">
                  <c:v>894.0</c:v>
                </c:pt>
                <c:pt idx="95">
                  <c:v>895.0</c:v>
                </c:pt>
                <c:pt idx="96">
                  <c:v>896.0</c:v>
                </c:pt>
                <c:pt idx="97">
                  <c:v>897.0</c:v>
                </c:pt>
                <c:pt idx="98">
                  <c:v>898.0</c:v>
                </c:pt>
                <c:pt idx="99">
                  <c:v>899.0</c:v>
                </c:pt>
                <c:pt idx="100">
                  <c:v>900.0</c:v>
                </c:pt>
                <c:pt idx="101">
                  <c:v>901.0</c:v>
                </c:pt>
                <c:pt idx="102">
                  <c:v>902.0</c:v>
                </c:pt>
                <c:pt idx="103">
                  <c:v>903.0</c:v>
                </c:pt>
                <c:pt idx="104">
                  <c:v>904.0</c:v>
                </c:pt>
                <c:pt idx="105">
                  <c:v>905.0</c:v>
                </c:pt>
                <c:pt idx="106">
                  <c:v>906.0</c:v>
                </c:pt>
                <c:pt idx="107">
                  <c:v>907.0</c:v>
                </c:pt>
                <c:pt idx="108">
                  <c:v>908.0</c:v>
                </c:pt>
                <c:pt idx="109">
                  <c:v>909.0</c:v>
                </c:pt>
                <c:pt idx="110">
                  <c:v>910.0</c:v>
                </c:pt>
                <c:pt idx="111">
                  <c:v>911.0</c:v>
                </c:pt>
                <c:pt idx="112">
                  <c:v>912.0</c:v>
                </c:pt>
                <c:pt idx="113">
                  <c:v>913.0</c:v>
                </c:pt>
                <c:pt idx="114">
                  <c:v>914.0</c:v>
                </c:pt>
                <c:pt idx="115">
                  <c:v>915.0</c:v>
                </c:pt>
                <c:pt idx="116">
                  <c:v>916.0</c:v>
                </c:pt>
                <c:pt idx="117">
                  <c:v>917.0</c:v>
                </c:pt>
                <c:pt idx="118">
                  <c:v>918.0</c:v>
                </c:pt>
                <c:pt idx="119">
                  <c:v>919.0</c:v>
                </c:pt>
                <c:pt idx="120">
                  <c:v>920.0</c:v>
                </c:pt>
                <c:pt idx="121">
                  <c:v>921.0</c:v>
                </c:pt>
                <c:pt idx="122">
                  <c:v>922.0</c:v>
                </c:pt>
                <c:pt idx="123">
                  <c:v>923.0</c:v>
                </c:pt>
                <c:pt idx="124">
                  <c:v>924.0</c:v>
                </c:pt>
                <c:pt idx="125">
                  <c:v>925.0</c:v>
                </c:pt>
                <c:pt idx="126">
                  <c:v>926.0</c:v>
                </c:pt>
                <c:pt idx="127">
                  <c:v>927.0</c:v>
                </c:pt>
                <c:pt idx="128">
                  <c:v>928.0</c:v>
                </c:pt>
                <c:pt idx="129">
                  <c:v>929.0</c:v>
                </c:pt>
                <c:pt idx="130">
                  <c:v>930.0</c:v>
                </c:pt>
                <c:pt idx="131">
                  <c:v>931.0</c:v>
                </c:pt>
                <c:pt idx="132">
                  <c:v>932.0</c:v>
                </c:pt>
                <c:pt idx="133">
                  <c:v>933.0</c:v>
                </c:pt>
                <c:pt idx="134">
                  <c:v>934.0</c:v>
                </c:pt>
                <c:pt idx="135">
                  <c:v>935.0</c:v>
                </c:pt>
                <c:pt idx="136">
                  <c:v>936.0</c:v>
                </c:pt>
                <c:pt idx="137">
                  <c:v>937.0</c:v>
                </c:pt>
                <c:pt idx="138">
                  <c:v>938.0</c:v>
                </c:pt>
                <c:pt idx="139">
                  <c:v>939.0</c:v>
                </c:pt>
                <c:pt idx="140">
                  <c:v>940.0</c:v>
                </c:pt>
                <c:pt idx="141">
                  <c:v>941.0</c:v>
                </c:pt>
                <c:pt idx="142">
                  <c:v>942.0</c:v>
                </c:pt>
                <c:pt idx="143">
                  <c:v>943.0</c:v>
                </c:pt>
                <c:pt idx="144">
                  <c:v>944.0</c:v>
                </c:pt>
                <c:pt idx="145">
                  <c:v>945.0</c:v>
                </c:pt>
                <c:pt idx="146">
                  <c:v>946.0</c:v>
                </c:pt>
                <c:pt idx="147">
                  <c:v>947.0</c:v>
                </c:pt>
                <c:pt idx="148">
                  <c:v>948.0</c:v>
                </c:pt>
                <c:pt idx="149">
                  <c:v>949.0</c:v>
                </c:pt>
                <c:pt idx="150">
                  <c:v>950.0</c:v>
                </c:pt>
                <c:pt idx="151">
                  <c:v>951.0</c:v>
                </c:pt>
                <c:pt idx="152">
                  <c:v>952.0</c:v>
                </c:pt>
                <c:pt idx="153">
                  <c:v>953.0</c:v>
                </c:pt>
                <c:pt idx="154">
                  <c:v>954.0</c:v>
                </c:pt>
                <c:pt idx="155">
                  <c:v>955.0</c:v>
                </c:pt>
                <c:pt idx="156">
                  <c:v>956.0</c:v>
                </c:pt>
                <c:pt idx="157">
                  <c:v>957.0</c:v>
                </c:pt>
                <c:pt idx="158">
                  <c:v>958.0</c:v>
                </c:pt>
                <c:pt idx="159">
                  <c:v>959.0</c:v>
                </c:pt>
                <c:pt idx="160">
                  <c:v>960.0</c:v>
                </c:pt>
                <c:pt idx="161">
                  <c:v>961.0</c:v>
                </c:pt>
                <c:pt idx="162">
                  <c:v>962.0</c:v>
                </c:pt>
                <c:pt idx="163">
                  <c:v>963.0</c:v>
                </c:pt>
                <c:pt idx="164">
                  <c:v>964.0</c:v>
                </c:pt>
                <c:pt idx="165">
                  <c:v>965.0</c:v>
                </c:pt>
                <c:pt idx="166">
                  <c:v>966.0</c:v>
                </c:pt>
                <c:pt idx="167">
                  <c:v>967.0</c:v>
                </c:pt>
                <c:pt idx="168">
                  <c:v>968.0</c:v>
                </c:pt>
                <c:pt idx="169">
                  <c:v>969.0</c:v>
                </c:pt>
                <c:pt idx="170">
                  <c:v>970.0</c:v>
                </c:pt>
                <c:pt idx="171">
                  <c:v>971.0</c:v>
                </c:pt>
                <c:pt idx="172">
                  <c:v>972.0</c:v>
                </c:pt>
                <c:pt idx="173">
                  <c:v>973.0</c:v>
                </c:pt>
                <c:pt idx="174">
                  <c:v>974.0</c:v>
                </c:pt>
                <c:pt idx="175">
                  <c:v>975.0</c:v>
                </c:pt>
                <c:pt idx="176">
                  <c:v>976.0</c:v>
                </c:pt>
                <c:pt idx="177">
                  <c:v>977.0</c:v>
                </c:pt>
                <c:pt idx="178">
                  <c:v>978.0</c:v>
                </c:pt>
                <c:pt idx="179">
                  <c:v>979.0</c:v>
                </c:pt>
                <c:pt idx="180">
                  <c:v>980.0</c:v>
                </c:pt>
                <c:pt idx="181">
                  <c:v>981.0</c:v>
                </c:pt>
                <c:pt idx="182">
                  <c:v>982.0</c:v>
                </c:pt>
                <c:pt idx="183">
                  <c:v>983.0</c:v>
                </c:pt>
                <c:pt idx="184">
                  <c:v>984.0</c:v>
                </c:pt>
                <c:pt idx="185">
                  <c:v>985.0</c:v>
                </c:pt>
                <c:pt idx="186">
                  <c:v>986.0</c:v>
                </c:pt>
                <c:pt idx="187">
                  <c:v>987.0</c:v>
                </c:pt>
                <c:pt idx="188">
                  <c:v>988.0</c:v>
                </c:pt>
                <c:pt idx="189">
                  <c:v>989.0</c:v>
                </c:pt>
                <c:pt idx="190">
                  <c:v>990.0</c:v>
                </c:pt>
                <c:pt idx="191">
                  <c:v>991.0</c:v>
                </c:pt>
                <c:pt idx="192">
                  <c:v>992.0</c:v>
                </c:pt>
                <c:pt idx="193">
                  <c:v>993.0</c:v>
                </c:pt>
                <c:pt idx="194">
                  <c:v>994.0</c:v>
                </c:pt>
                <c:pt idx="195">
                  <c:v>995.0</c:v>
                </c:pt>
                <c:pt idx="196">
                  <c:v>996.0</c:v>
                </c:pt>
                <c:pt idx="197">
                  <c:v>997.0</c:v>
                </c:pt>
                <c:pt idx="198">
                  <c:v>998.0</c:v>
                </c:pt>
                <c:pt idx="199">
                  <c:v>999.0</c:v>
                </c:pt>
                <c:pt idx="200">
                  <c:v>1000.0</c:v>
                </c:pt>
                <c:pt idx="201">
                  <c:v>1001.0</c:v>
                </c:pt>
                <c:pt idx="202">
                  <c:v>1002.0</c:v>
                </c:pt>
                <c:pt idx="203">
                  <c:v>1003.0</c:v>
                </c:pt>
                <c:pt idx="204">
                  <c:v>1004.0</c:v>
                </c:pt>
                <c:pt idx="205">
                  <c:v>1005.0</c:v>
                </c:pt>
                <c:pt idx="206">
                  <c:v>1006.0</c:v>
                </c:pt>
                <c:pt idx="207">
                  <c:v>1007.0</c:v>
                </c:pt>
                <c:pt idx="208">
                  <c:v>1008.0</c:v>
                </c:pt>
                <c:pt idx="209">
                  <c:v>1009.0</c:v>
                </c:pt>
                <c:pt idx="210">
                  <c:v>1010.0</c:v>
                </c:pt>
                <c:pt idx="211">
                  <c:v>1011.0</c:v>
                </c:pt>
                <c:pt idx="212">
                  <c:v>1012.0</c:v>
                </c:pt>
                <c:pt idx="213">
                  <c:v>1013.0</c:v>
                </c:pt>
                <c:pt idx="214">
                  <c:v>1014.0</c:v>
                </c:pt>
                <c:pt idx="215">
                  <c:v>1015.0</c:v>
                </c:pt>
                <c:pt idx="216">
                  <c:v>1016.0</c:v>
                </c:pt>
                <c:pt idx="217">
                  <c:v>1017.0</c:v>
                </c:pt>
                <c:pt idx="218">
                  <c:v>1018.0</c:v>
                </c:pt>
                <c:pt idx="219">
                  <c:v>1019.0</c:v>
                </c:pt>
                <c:pt idx="220">
                  <c:v>1020.0</c:v>
                </c:pt>
                <c:pt idx="221">
                  <c:v>1021.0</c:v>
                </c:pt>
                <c:pt idx="222">
                  <c:v>1022.0</c:v>
                </c:pt>
                <c:pt idx="223">
                  <c:v>1023.0</c:v>
                </c:pt>
                <c:pt idx="224">
                  <c:v>1024.0</c:v>
                </c:pt>
                <c:pt idx="225">
                  <c:v>1025.0</c:v>
                </c:pt>
                <c:pt idx="226">
                  <c:v>1026.0</c:v>
                </c:pt>
                <c:pt idx="227">
                  <c:v>1027.0</c:v>
                </c:pt>
                <c:pt idx="228">
                  <c:v>1028.0</c:v>
                </c:pt>
                <c:pt idx="229">
                  <c:v>1029.0</c:v>
                </c:pt>
                <c:pt idx="230">
                  <c:v>1030.0</c:v>
                </c:pt>
                <c:pt idx="231">
                  <c:v>1031.0</c:v>
                </c:pt>
                <c:pt idx="232">
                  <c:v>1032.0</c:v>
                </c:pt>
                <c:pt idx="233">
                  <c:v>1033.0</c:v>
                </c:pt>
                <c:pt idx="234">
                  <c:v>1034.0</c:v>
                </c:pt>
                <c:pt idx="235">
                  <c:v>1035.0</c:v>
                </c:pt>
                <c:pt idx="236">
                  <c:v>1036.0</c:v>
                </c:pt>
                <c:pt idx="237">
                  <c:v>1037.0</c:v>
                </c:pt>
                <c:pt idx="238">
                  <c:v>1038.0</c:v>
                </c:pt>
                <c:pt idx="239">
                  <c:v>1039.0</c:v>
                </c:pt>
                <c:pt idx="240">
                  <c:v>1040.0</c:v>
                </c:pt>
                <c:pt idx="241">
                  <c:v>1041.0</c:v>
                </c:pt>
                <c:pt idx="242">
                  <c:v>1042.0</c:v>
                </c:pt>
                <c:pt idx="243">
                  <c:v>1043.0</c:v>
                </c:pt>
                <c:pt idx="244">
                  <c:v>1044.0</c:v>
                </c:pt>
                <c:pt idx="245">
                  <c:v>1045.0</c:v>
                </c:pt>
                <c:pt idx="246">
                  <c:v>1046.0</c:v>
                </c:pt>
                <c:pt idx="247">
                  <c:v>1047.0</c:v>
                </c:pt>
                <c:pt idx="248">
                  <c:v>1048.0</c:v>
                </c:pt>
                <c:pt idx="249">
                  <c:v>1049.0</c:v>
                </c:pt>
                <c:pt idx="250">
                  <c:v>1050.0</c:v>
                </c:pt>
                <c:pt idx="251">
                  <c:v>1051.0</c:v>
                </c:pt>
                <c:pt idx="252">
                  <c:v>1052.0</c:v>
                </c:pt>
                <c:pt idx="253">
                  <c:v>1053.0</c:v>
                </c:pt>
                <c:pt idx="254">
                  <c:v>1054.0</c:v>
                </c:pt>
                <c:pt idx="255">
                  <c:v>1055.0</c:v>
                </c:pt>
                <c:pt idx="256">
                  <c:v>1056.0</c:v>
                </c:pt>
                <c:pt idx="257">
                  <c:v>1057.0</c:v>
                </c:pt>
                <c:pt idx="258">
                  <c:v>1058.0</c:v>
                </c:pt>
                <c:pt idx="259">
                  <c:v>1059.0</c:v>
                </c:pt>
                <c:pt idx="260">
                  <c:v>1060.0</c:v>
                </c:pt>
                <c:pt idx="261">
                  <c:v>1061.0</c:v>
                </c:pt>
                <c:pt idx="262">
                  <c:v>1062.0</c:v>
                </c:pt>
                <c:pt idx="263">
                  <c:v>1063.0</c:v>
                </c:pt>
                <c:pt idx="264">
                  <c:v>1064.0</c:v>
                </c:pt>
                <c:pt idx="265">
                  <c:v>1065.0</c:v>
                </c:pt>
                <c:pt idx="266">
                  <c:v>1066.0</c:v>
                </c:pt>
                <c:pt idx="267">
                  <c:v>1067.0</c:v>
                </c:pt>
                <c:pt idx="268">
                  <c:v>1068.0</c:v>
                </c:pt>
                <c:pt idx="269">
                  <c:v>1069.0</c:v>
                </c:pt>
                <c:pt idx="270">
                  <c:v>1070.0</c:v>
                </c:pt>
                <c:pt idx="271">
                  <c:v>1071.0</c:v>
                </c:pt>
                <c:pt idx="272">
                  <c:v>1072.0</c:v>
                </c:pt>
                <c:pt idx="273">
                  <c:v>1073.0</c:v>
                </c:pt>
                <c:pt idx="274">
                  <c:v>1074.0</c:v>
                </c:pt>
                <c:pt idx="275">
                  <c:v>1075.0</c:v>
                </c:pt>
                <c:pt idx="276">
                  <c:v>1076.0</c:v>
                </c:pt>
                <c:pt idx="277">
                  <c:v>1077.0</c:v>
                </c:pt>
                <c:pt idx="278">
                  <c:v>1078.0</c:v>
                </c:pt>
                <c:pt idx="279">
                  <c:v>1079.0</c:v>
                </c:pt>
                <c:pt idx="280">
                  <c:v>1080.0</c:v>
                </c:pt>
                <c:pt idx="281">
                  <c:v>1081.0</c:v>
                </c:pt>
                <c:pt idx="282">
                  <c:v>1082.0</c:v>
                </c:pt>
                <c:pt idx="283">
                  <c:v>1083.0</c:v>
                </c:pt>
                <c:pt idx="284">
                  <c:v>1084.0</c:v>
                </c:pt>
                <c:pt idx="285">
                  <c:v>1085.0</c:v>
                </c:pt>
                <c:pt idx="286">
                  <c:v>1086.0</c:v>
                </c:pt>
                <c:pt idx="287">
                  <c:v>1087.0</c:v>
                </c:pt>
                <c:pt idx="288">
                  <c:v>1088.0</c:v>
                </c:pt>
                <c:pt idx="289">
                  <c:v>1089.0</c:v>
                </c:pt>
                <c:pt idx="290">
                  <c:v>1090.0</c:v>
                </c:pt>
                <c:pt idx="291">
                  <c:v>1091.0</c:v>
                </c:pt>
                <c:pt idx="292">
                  <c:v>1092.0</c:v>
                </c:pt>
                <c:pt idx="293">
                  <c:v>1093.0</c:v>
                </c:pt>
                <c:pt idx="294">
                  <c:v>1094.0</c:v>
                </c:pt>
                <c:pt idx="295">
                  <c:v>1095.0</c:v>
                </c:pt>
                <c:pt idx="296">
                  <c:v>1096.0</c:v>
                </c:pt>
                <c:pt idx="297">
                  <c:v>1097.0</c:v>
                </c:pt>
                <c:pt idx="298">
                  <c:v>1098.0</c:v>
                </c:pt>
                <c:pt idx="299">
                  <c:v>1099.0</c:v>
                </c:pt>
                <c:pt idx="300">
                  <c:v>1100.0</c:v>
                </c:pt>
                <c:pt idx="301">
                  <c:v>1101.0</c:v>
                </c:pt>
                <c:pt idx="302">
                  <c:v>1102.0</c:v>
                </c:pt>
                <c:pt idx="303">
                  <c:v>1103.0</c:v>
                </c:pt>
                <c:pt idx="304">
                  <c:v>1104.0</c:v>
                </c:pt>
                <c:pt idx="305">
                  <c:v>1105.0</c:v>
                </c:pt>
                <c:pt idx="306">
                  <c:v>1106.0</c:v>
                </c:pt>
                <c:pt idx="307">
                  <c:v>1107.0</c:v>
                </c:pt>
                <c:pt idx="308">
                  <c:v>1108.0</c:v>
                </c:pt>
                <c:pt idx="309">
                  <c:v>1109.0</c:v>
                </c:pt>
                <c:pt idx="310">
                  <c:v>1110.0</c:v>
                </c:pt>
                <c:pt idx="311">
                  <c:v>1111.0</c:v>
                </c:pt>
                <c:pt idx="312">
                  <c:v>1112.0</c:v>
                </c:pt>
                <c:pt idx="313">
                  <c:v>1113.0</c:v>
                </c:pt>
                <c:pt idx="314">
                  <c:v>1114.0</c:v>
                </c:pt>
                <c:pt idx="315">
                  <c:v>1115.0</c:v>
                </c:pt>
                <c:pt idx="316">
                  <c:v>1116.0</c:v>
                </c:pt>
                <c:pt idx="317">
                  <c:v>1117.0</c:v>
                </c:pt>
                <c:pt idx="318">
                  <c:v>1118.0</c:v>
                </c:pt>
                <c:pt idx="319">
                  <c:v>1119.0</c:v>
                </c:pt>
                <c:pt idx="320">
                  <c:v>1120.0</c:v>
                </c:pt>
                <c:pt idx="321">
                  <c:v>1121.0</c:v>
                </c:pt>
                <c:pt idx="322">
                  <c:v>1122.0</c:v>
                </c:pt>
                <c:pt idx="323">
                  <c:v>1123.0</c:v>
                </c:pt>
                <c:pt idx="324">
                  <c:v>1124.0</c:v>
                </c:pt>
                <c:pt idx="325">
                  <c:v>1125.0</c:v>
                </c:pt>
                <c:pt idx="326">
                  <c:v>1126.0</c:v>
                </c:pt>
                <c:pt idx="327">
                  <c:v>1127.0</c:v>
                </c:pt>
                <c:pt idx="328">
                  <c:v>1128.0</c:v>
                </c:pt>
                <c:pt idx="329">
                  <c:v>1129.0</c:v>
                </c:pt>
                <c:pt idx="330">
                  <c:v>1130.0</c:v>
                </c:pt>
                <c:pt idx="331">
                  <c:v>1131.0</c:v>
                </c:pt>
                <c:pt idx="332">
                  <c:v>1132.0</c:v>
                </c:pt>
                <c:pt idx="333">
                  <c:v>1133.0</c:v>
                </c:pt>
                <c:pt idx="334">
                  <c:v>1134.0</c:v>
                </c:pt>
                <c:pt idx="335">
                  <c:v>1135.0</c:v>
                </c:pt>
                <c:pt idx="336">
                  <c:v>1136.0</c:v>
                </c:pt>
                <c:pt idx="337">
                  <c:v>1137.0</c:v>
                </c:pt>
                <c:pt idx="338">
                  <c:v>1138.0</c:v>
                </c:pt>
                <c:pt idx="339">
                  <c:v>1139.0</c:v>
                </c:pt>
                <c:pt idx="340">
                  <c:v>1140.0</c:v>
                </c:pt>
                <c:pt idx="341">
                  <c:v>1141.0</c:v>
                </c:pt>
                <c:pt idx="342">
                  <c:v>1142.0</c:v>
                </c:pt>
                <c:pt idx="343">
                  <c:v>1143.0</c:v>
                </c:pt>
                <c:pt idx="344">
                  <c:v>1144.0</c:v>
                </c:pt>
                <c:pt idx="345">
                  <c:v>1145.0</c:v>
                </c:pt>
                <c:pt idx="346">
                  <c:v>1146.0</c:v>
                </c:pt>
                <c:pt idx="347">
                  <c:v>1147.0</c:v>
                </c:pt>
                <c:pt idx="348">
                  <c:v>1148.0</c:v>
                </c:pt>
                <c:pt idx="349">
                  <c:v>1149.0</c:v>
                </c:pt>
                <c:pt idx="350">
                  <c:v>1150.0</c:v>
                </c:pt>
                <c:pt idx="351">
                  <c:v>1151.0</c:v>
                </c:pt>
                <c:pt idx="352">
                  <c:v>1152.0</c:v>
                </c:pt>
                <c:pt idx="353">
                  <c:v>1153.0</c:v>
                </c:pt>
                <c:pt idx="354">
                  <c:v>1154.0</c:v>
                </c:pt>
                <c:pt idx="355">
                  <c:v>1155.0</c:v>
                </c:pt>
                <c:pt idx="356">
                  <c:v>1156.0</c:v>
                </c:pt>
                <c:pt idx="357">
                  <c:v>1157.0</c:v>
                </c:pt>
                <c:pt idx="358">
                  <c:v>1158.0</c:v>
                </c:pt>
                <c:pt idx="359">
                  <c:v>1159.0</c:v>
                </c:pt>
                <c:pt idx="360">
                  <c:v>1160.0</c:v>
                </c:pt>
                <c:pt idx="361">
                  <c:v>1161.0</c:v>
                </c:pt>
                <c:pt idx="362">
                  <c:v>1162.0</c:v>
                </c:pt>
                <c:pt idx="363">
                  <c:v>1163.0</c:v>
                </c:pt>
                <c:pt idx="364">
                  <c:v>1164.0</c:v>
                </c:pt>
                <c:pt idx="365">
                  <c:v>1165.0</c:v>
                </c:pt>
                <c:pt idx="366">
                  <c:v>1166.0</c:v>
                </c:pt>
                <c:pt idx="367">
                  <c:v>1167.0</c:v>
                </c:pt>
                <c:pt idx="368">
                  <c:v>1168.0</c:v>
                </c:pt>
                <c:pt idx="369">
                  <c:v>1169.0</c:v>
                </c:pt>
                <c:pt idx="370">
                  <c:v>1170.0</c:v>
                </c:pt>
                <c:pt idx="371">
                  <c:v>1171.0</c:v>
                </c:pt>
                <c:pt idx="372">
                  <c:v>1172.0</c:v>
                </c:pt>
                <c:pt idx="373">
                  <c:v>1173.0</c:v>
                </c:pt>
                <c:pt idx="374">
                  <c:v>1174.0</c:v>
                </c:pt>
                <c:pt idx="375">
                  <c:v>1175.0</c:v>
                </c:pt>
                <c:pt idx="376">
                  <c:v>1176.0</c:v>
                </c:pt>
                <c:pt idx="377">
                  <c:v>1177.0</c:v>
                </c:pt>
                <c:pt idx="378">
                  <c:v>1178.0</c:v>
                </c:pt>
                <c:pt idx="379">
                  <c:v>1179.0</c:v>
                </c:pt>
                <c:pt idx="380">
                  <c:v>1180.0</c:v>
                </c:pt>
                <c:pt idx="381">
                  <c:v>1181.0</c:v>
                </c:pt>
                <c:pt idx="382">
                  <c:v>1182.0</c:v>
                </c:pt>
                <c:pt idx="383">
                  <c:v>1183.0</c:v>
                </c:pt>
                <c:pt idx="384">
                  <c:v>1184.0</c:v>
                </c:pt>
                <c:pt idx="385">
                  <c:v>1185.0</c:v>
                </c:pt>
                <c:pt idx="386">
                  <c:v>1186.0</c:v>
                </c:pt>
                <c:pt idx="387">
                  <c:v>1187.0</c:v>
                </c:pt>
                <c:pt idx="388">
                  <c:v>1188.0</c:v>
                </c:pt>
                <c:pt idx="389">
                  <c:v>1189.0</c:v>
                </c:pt>
                <c:pt idx="390">
                  <c:v>1190.0</c:v>
                </c:pt>
                <c:pt idx="391">
                  <c:v>1191.0</c:v>
                </c:pt>
                <c:pt idx="392">
                  <c:v>1192.0</c:v>
                </c:pt>
                <c:pt idx="393">
                  <c:v>1193.0</c:v>
                </c:pt>
                <c:pt idx="394">
                  <c:v>1194.0</c:v>
                </c:pt>
                <c:pt idx="395">
                  <c:v>1195.0</c:v>
                </c:pt>
                <c:pt idx="396">
                  <c:v>1196.0</c:v>
                </c:pt>
                <c:pt idx="397">
                  <c:v>1197.0</c:v>
                </c:pt>
                <c:pt idx="398">
                  <c:v>1198.0</c:v>
                </c:pt>
                <c:pt idx="399">
                  <c:v>1199.0</c:v>
                </c:pt>
                <c:pt idx="400">
                  <c:v>1200.0</c:v>
                </c:pt>
                <c:pt idx="401">
                  <c:v>1201.0</c:v>
                </c:pt>
                <c:pt idx="402">
                  <c:v>1202.0</c:v>
                </c:pt>
                <c:pt idx="403">
                  <c:v>1203.0</c:v>
                </c:pt>
                <c:pt idx="404">
                  <c:v>1204.0</c:v>
                </c:pt>
                <c:pt idx="405">
                  <c:v>1205.0</c:v>
                </c:pt>
                <c:pt idx="406">
                  <c:v>1206.0</c:v>
                </c:pt>
                <c:pt idx="407">
                  <c:v>1207.0</c:v>
                </c:pt>
                <c:pt idx="408">
                  <c:v>1208.0</c:v>
                </c:pt>
                <c:pt idx="409">
                  <c:v>1209.0</c:v>
                </c:pt>
                <c:pt idx="410">
                  <c:v>1210.0</c:v>
                </c:pt>
                <c:pt idx="411">
                  <c:v>1211.0</c:v>
                </c:pt>
                <c:pt idx="412">
                  <c:v>1212.0</c:v>
                </c:pt>
                <c:pt idx="413">
                  <c:v>1213.0</c:v>
                </c:pt>
                <c:pt idx="414">
                  <c:v>1214.0</c:v>
                </c:pt>
                <c:pt idx="415">
                  <c:v>1215.0</c:v>
                </c:pt>
                <c:pt idx="416">
                  <c:v>1216.0</c:v>
                </c:pt>
                <c:pt idx="417">
                  <c:v>1217.0</c:v>
                </c:pt>
                <c:pt idx="418">
                  <c:v>1218.0</c:v>
                </c:pt>
                <c:pt idx="419">
                  <c:v>1219.0</c:v>
                </c:pt>
                <c:pt idx="420">
                  <c:v>1220.0</c:v>
                </c:pt>
                <c:pt idx="421">
                  <c:v>1221.0</c:v>
                </c:pt>
                <c:pt idx="422">
                  <c:v>1222.0</c:v>
                </c:pt>
                <c:pt idx="423">
                  <c:v>1223.0</c:v>
                </c:pt>
                <c:pt idx="424">
                  <c:v>1224.0</c:v>
                </c:pt>
                <c:pt idx="425">
                  <c:v>1225.0</c:v>
                </c:pt>
                <c:pt idx="426">
                  <c:v>1226.0</c:v>
                </c:pt>
                <c:pt idx="427">
                  <c:v>1227.0</c:v>
                </c:pt>
                <c:pt idx="428">
                  <c:v>1228.0</c:v>
                </c:pt>
                <c:pt idx="429">
                  <c:v>1229.0</c:v>
                </c:pt>
                <c:pt idx="430">
                  <c:v>1230.0</c:v>
                </c:pt>
                <c:pt idx="431">
                  <c:v>1231.0</c:v>
                </c:pt>
                <c:pt idx="432">
                  <c:v>1232.0</c:v>
                </c:pt>
                <c:pt idx="433">
                  <c:v>1233.0</c:v>
                </c:pt>
                <c:pt idx="434">
                  <c:v>1234.0</c:v>
                </c:pt>
                <c:pt idx="435">
                  <c:v>1235.0</c:v>
                </c:pt>
                <c:pt idx="436">
                  <c:v>1236.0</c:v>
                </c:pt>
                <c:pt idx="437">
                  <c:v>1237.0</c:v>
                </c:pt>
                <c:pt idx="438">
                  <c:v>1238.0</c:v>
                </c:pt>
                <c:pt idx="439">
                  <c:v>1239.0</c:v>
                </c:pt>
                <c:pt idx="440">
                  <c:v>1240.0</c:v>
                </c:pt>
                <c:pt idx="441">
                  <c:v>1241.0</c:v>
                </c:pt>
                <c:pt idx="442">
                  <c:v>1242.0</c:v>
                </c:pt>
                <c:pt idx="443">
                  <c:v>1243.0</c:v>
                </c:pt>
                <c:pt idx="444">
                  <c:v>1244.0</c:v>
                </c:pt>
                <c:pt idx="445">
                  <c:v>1245.0</c:v>
                </c:pt>
                <c:pt idx="446">
                  <c:v>1246.0</c:v>
                </c:pt>
                <c:pt idx="447">
                  <c:v>1247.0</c:v>
                </c:pt>
                <c:pt idx="448">
                  <c:v>1248.0</c:v>
                </c:pt>
                <c:pt idx="449">
                  <c:v>1249.0</c:v>
                </c:pt>
                <c:pt idx="450">
                  <c:v>1250.0</c:v>
                </c:pt>
                <c:pt idx="451">
                  <c:v>1251.0</c:v>
                </c:pt>
                <c:pt idx="452">
                  <c:v>1252.0</c:v>
                </c:pt>
                <c:pt idx="453">
                  <c:v>1253.0</c:v>
                </c:pt>
                <c:pt idx="454">
                  <c:v>1254.0</c:v>
                </c:pt>
                <c:pt idx="455">
                  <c:v>1255.0</c:v>
                </c:pt>
                <c:pt idx="456">
                  <c:v>1256.0</c:v>
                </c:pt>
                <c:pt idx="457">
                  <c:v>1257.0</c:v>
                </c:pt>
                <c:pt idx="458">
                  <c:v>1258.0</c:v>
                </c:pt>
                <c:pt idx="459">
                  <c:v>1259.0</c:v>
                </c:pt>
                <c:pt idx="460">
                  <c:v>1260.0</c:v>
                </c:pt>
                <c:pt idx="461">
                  <c:v>1261.0</c:v>
                </c:pt>
                <c:pt idx="462">
                  <c:v>1262.0</c:v>
                </c:pt>
                <c:pt idx="463">
                  <c:v>1263.0</c:v>
                </c:pt>
                <c:pt idx="464">
                  <c:v>1264.0</c:v>
                </c:pt>
                <c:pt idx="465">
                  <c:v>1265.0</c:v>
                </c:pt>
                <c:pt idx="466">
                  <c:v>1266.0</c:v>
                </c:pt>
                <c:pt idx="467">
                  <c:v>1267.0</c:v>
                </c:pt>
                <c:pt idx="468">
                  <c:v>1268.0</c:v>
                </c:pt>
                <c:pt idx="469">
                  <c:v>1269.0</c:v>
                </c:pt>
                <c:pt idx="470">
                  <c:v>1270.0</c:v>
                </c:pt>
                <c:pt idx="471">
                  <c:v>1271.0</c:v>
                </c:pt>
                <c:pt idx="472">
                  <c:v>1272.0</c:v>
                </c:pt>
                <c:pt idx="473">
                  <c:v>1273.0</c:v>
                </c:pt>
                <c:pt idx="474">
                  <c:v>1274.0</c:v>
                </c:pt>
                <c:pt idx="475">
                  <c:v>1275.0</c:v>
                </c:pt>
                <c:pt idx="476">
                  <c:v>1276.0</c:v>
                </c:pt>
                <c:pt idx="477">
                  <c:v>1277.0</c:v>
                </c:pt>
                <c:pt idx="478">
                  <c:v>1278.0</c:v>
                </c:pt>
                <c:pt idx="479">
                  <c:v>1279.0</c:v>
                </c:pt>
                <c:pt idx="480">
                  <c:v>1280.0</c:v>
                </c:pt>
                <c:pt idx="481">
                  <c:v>1281.0</c:v>
                </c:pt>
                <c:pt idx="482">
                  <c:v>1282.0</c:v>
                </c:pt>
                <c:pt idx="483">
                  <c:v>1283.0</c:v>
                </c:pt>
                <c:pt idx="484">
                  <c:v>1284.0</c:v>
                </c:pt>
                <c:pt idx="485">
                  <c:v>1285.0</c:v>
                </c:pt>
                <c:pt idx="486">
                  <c:v>1286.0</c:v>
                </c:pt>
                <c:pt idx="487">
                  <c:v>1287.0</c:v>
                </c:pt>
                <c:pt idx="488">
                  <c:v>1288.0</c:v>
                </c:pt>
                <c:pt idx="489">
                  <c:v>1289.0</c:v>
                </c:pt>
                <c:pt idx="490">
                  <c:v>1290.0</c:v>
                </c:pt>
                <c:pt idx="491">
                  <c:v>1291.0</c:v>
                </c:pt>
                <c:pt idx="492">
                  <c:v>1292.0</c:v>
                </c:pt>
                <c:pt idx="493">
                  <c:v>1293.0</c:v>
                </c:pt>
                <c:pt idx="494">
                  <c:v>1294.0</c:v>
                </c:pt>
                <c:pt idx="495">
                  <c:v>1295.0</c:v>
                </c:pt>
                <c:pt idx="496">
                  <c:v>1296.0</c:v>
                </c:pt>
                <c:pt idx="497">
                  <c:v>1297.0</c:v>
                </c:pt>
                <c:pt idx="498">
                  <c:v>1298.0</c:v>
                </c:pt>
                <c:pt idx="499">
                  <c:v>1299.0</c:v>
                </c:pt>
                <c:pt idx="500">
                  <c:v>1300.0</c:v>
                </c:pt>
                <c:pt idx="501">
                  <c:v>1301.0</c:v>
                </c:pt>
                <c:pt idx="502">
                  <c:v>1302.0</c:v>
                </c:pt>
                <c:pt idx="503">
                  <c:v>1303.0</c:v>
                </c:pt>
                <c:pt idx="504">
                  <c:v>1304.0</c:v>
                </c:pt>
                <c:pt idx="505">
                  <c:v>1305.0</c:v>
                </c:pt>
                <c:pt idx="506">
                  <c:v>1306.0</c:v>
                </c:pt>
                <c:pt idx="507">
                  <c:v>1307.0</c:v>
                </c:pt>
                <c:pt idx="508">
                  <c:v>1308.0</c:v>
                </c:pt>
                <c:pt idx="509">
                  <c:v>1309.0</c:v>
                </c:pt>
                <c:pt idx="510">
                  <c:v>1310.0</c:v>
                </c:pt>
                <c:pt idx="511">
                  <c:v>1311.0</c:v>
                </c:pt>
                <c:pt idx="512">
                  <c:v>1312.0</c:v>
                </c:pt>
                <c:pt idx="513">
                  <c:v>1313.0</c:v>
                </c:pt>
                <c:pt idx="514">
                  <c:v>1314.0</c:v>
                </c:pt>
                <c:pt idx="515">
                  <c:v>1315.0</c:v>
                </c:pt>
                <c:pt idx="516">
                  <c:v>1316.0</c:v>
                </c:pt>
                <c:pt idx="517">
                  <c:v>1317.0</c:v>
                </c:pt>
                <c:pt idx="518">
                  <c:v>1318.0</c:v>
                </c:pt>
                <c:pt idx="519">
                  <c:v>1319.0</c:v>
                </c:pt>
                <c:pt idx="520">
                  <c:v>1320.0</c:v>
                </c:pt>
                <c:pt idx="521">
                  <c:v>1321.0</c:v>
                </c:pt>
                <c:pt idx="522">
                  <c:v>1322.0</c:v>
                </c:pt>
                <c:pt idx="523">
                  <c:v>1323.0</c:v>
                </c:pt>
                <c:pt idx="524">
                  <c:v>1324.0</c:v>
                </c:pt>
                <c:pt idx="525">
                  <c:v>1325.0</c:v>
                </c:pt>
                <c:pt idx="526">
                  <c:v>1326.0</c:v>
                </c:pt>
                <c:pt idx="527">
                  <c:v>1327.0</c:v>
                </c:pt>
                <c:pt idx="528">
                  <c:v>1328.0</c:v>
                </c:pt>
                <c:pt idx="529">
                  <c:v>1329.0</c:v>
                </c:pt>
                <c:pt idx="530">
                  <c:v>1330.0</c:v>
                </c:pt>
                <c:pt idx="531">
                  <c:v>1331.0</c:v>
                </c:pt>
                <c:pt idx="532">
                  <c:v>1332.0</c:v>
                </c:pt>
                <c:pt idx="533">
                  <c:v>1333.0</c:v>
                </c:pt>
                <c:pt idx="534">
                  <c:v>1334.0</c:v>
                </c:pt>
                <c:pt idx="535">
                  <c:v>1335.0</c:v>
                </c:pt>
                <c:pt idx="536">
                  <c:v>1336.0</c:v>
                </c:pt>
                <c:pt idx="537">
                  <c:v>1337.0</c:v>
                </c:pt>
                <c:pt idx="538">
                  <c:v>1338.0</c:v>
                </c:pt>
                <c:pt idx="539">
                  <c:v>1339.0</c:v>
                </c:pt>
                <c:pt idx="540">
                  <c:v>1340.0</c:v>
                </c:pt>
                <c:pt idx="541">
                  <c:v>1341.0</c:v>
                </c:pt>
                <c:pt idx="542">
                  <c:v>1342.0</c:v>
                </c:pt>
                <c:pt idx="543">
                  <c:v>1343.0</c:v>
                </c:pt>
                <c:pt idx="544">
                  <c:v>1344.0</c:v>
                </c:pt>
                <c:pt idx="545">
                  <c:v>1345.0</c:v>
                </c:pt>
                <c:pt idx="546">
                  <c:v>1346.0</c:v>
                </c:pt>
                <c:pt idx="547">
                  <c:v>1347.0</c:v>
                </c:pt>
                <c:pt idx="548">
                  <c:v>1348.0</c:v>
                </c:pt>
                <c:pt idx="549">
                  <c:v>1349.0</c:v>
                </c:pt>
                <c:pt idx="550">
                  <c:v>1350.0</c:v>
                </c:pt>
                <c:pt idx="551">
                  <c:v>1351.0</c:v>
                </c:pt>
                <c:pt idx="552">
                  <c:v>1352.0</c:v>
                </c:pt>
                <c:pt idx="553">
                  <c:v>1353.0</c:v>
                </c:pt>
                <c:pt idx="554">
                  <c:v>1354.0</c:v>
                </c:pt>
                <c:pt idx="555">
                  <c:v>1355.0</c:v>
                </c:pt>
                <c:pt idx="556">
                  <c:v>1356.0</c:v>
                </c:pt>
                <c:pt idx="557">
                  <c:v>1357.0</c:v>
                </c:pt>
                <c:pt idx="558">
                  <c:v>1358.0</c:v>
                </c:pt>
                <c:pt idx="559">
                  <c:v>1359.0</c:v>
                </c:pt>
                <c:pt idx="560">
                  <c:v>1360.0</c:v>
                </c:pt>
                <c:pt idx="561">
                  <c:v>1361.0</c:v>
                </c:pt>
                <c:pt idx="562">
                  <c:v>1362.0</c:v>
                </c:pt>
                <c:pt idx="563">
                  <c:v>1363.0</c:v>
                </c:pt>
                <c:pt idx="564">
                  <c:v>1364.0</c:v>
                </c:pt>
                <c:pt idx="565">
                  <c:v>1365.0</c:v>
                </c:pt>
                <c:pt idx="566">
                  <c:v>1366.0</c:v>
                </c:pt>
                <c:pt idx="567">
                  <c:v>1367.0</c:v>
                </c:pt>
                <c:pt idx="568">
                  <c:v>1368.0</c:v>
                </c:pt>
                <c:pt idx="569">
                  <c:v>1369.0</c:v>
                </c:pt>
                <c:pt idx="570">
                  <c:v>1370.0</c:v>
                </c:pt>
                <c:pt idx="571">
                  <c:v>1371.0</c:v>
                </c:pt>
                <c:pt idx="572">
                  <c:v>1372.0</c:v>
                </c:pt>
                <c:pt idx="573">
                  <c:v>1373.0</c:v>
                </c:pt>
                <c:pt idx="574">
                  <c:v>1374.0</c:v>
                </c:pt>
                <c:pt idx="575">
                  <c:v>1375.0</c:v>
                </c:pt>
                <c:pt idx="576">
                  <c:v>1376.0</c:v>
                </c:pt>
                <c:pt idx="577">
                  <c:v>1377.0</c:v>
                </c:pt>
                <c:pt idx="578">
                  <c:v>1378.0</c:v>
                </c:pt>
                <c:pt idx="579">
                  <c:v>1379.0</c:v>
                </c:pt>
                <c:pt idx="580">
                  <c:v>1380.0</c:v>
                </c:pt>
                <c:pt idx="581">
                  <c:v>1381.0</c:v>
                </c:pt>
                <c:pt idx="582">
                  <c:v>1382.0</c:v>
                </c:pt>
                <c:pt idx="583">
                  <c:v>1383.0</c:v>
                </c:pt>
                <c:pt idx="584">
                  <c:v>1384.0</c:v>
                </c:pt>
                <c:pt idx="585">
                  <c:v>1385.0</c:v>
                </c:pt>
                <c:pt idx="586">
                  <c:v>1386.0</c:v>
                </c:pt>
                <c:pt idx="587">
                  <c:v>1387.0</c:v>
                </c:pt>
                <c:pt idx="588">
                  <c:v>1388.0</c:v>
                </c:pt>
                <c:pt idx="589">
                  <c:v>1389.0</c:v>
                </c:pt>
                <c:pt idx="590">
                  <c:v>1390.0</c:v>
                </c:pt>
                <c:pt idx="591">
                  <c:v>1391.0</c:v>
                </c:pt>
                <c:pt idx="592">
                  <c:v>1392.0</c:v>
                </c:pt>
                <c:pt idx="593">
                  <c:v>1393.0</c:v>
                </c:pt>
                <c:pt idx="594">
                  <c:v>1394.0</c:v>
                </c:pt>
                <c:pt idx="595">
                  <c:v>1395.0</c:v>
                </c:pt>
                <c:pt idx="596">
                  <c:v>1396.0</c:v>
                </c:pt>
                <c:pt idx="597">
                  <c:v>1397.0</c:v>
                </c:pt>
                <c:pt idx="598">
                  <c:v>1398.0</c:v>
                </c:pt>
                <c:pt idx="599">
                  <c:v>1399.0</c:v>
                </c:pt>
                <c:pt idx="600">
                  <c:v>1400.0</c:v>
                </c:pt>
                <c:pt idx="601">
                  <c:v>1401.0</c:v>
                </c:pt>
                <c:pt idx="602">
                  <c:v>1402.0</c:v>
                </c:pt>
                <c:pt idx="603">
                  <c:v>1403.0</c:v>
                </c:pt>
                <c:pt idx="604">
                  <c:v>1404.0</c:v>
                </c:pt>
                <c:pt idx="605">
                  <c:v>1405.0</c:v>
                </c:pt>
                <c:pt idx="606">
                  <c:v>1406.0</c:v>
                </c:pt>
                <c:pt idx="607">
                  <c:v>1407.0</c:v>
                </c:pt>
                <c:pt idx="608">
                  <c:v>1408.0</c:v>
                </c:pt>
                <c:pt idx="609">
                  <c:v>1409.0</c:v>
                </c:pt>
                <c:pt idx="610">
                  <c:v>1410.0</c:v>
                </c:pt>
                <c:pt idx="611">
                  <c:v>1411.0</c:v>
                </c:pt>
                <c:pt idx="612">
                  <c:v>1412.0</c:v>
                </c:pt>
                <c:pt idx="613">
                  <c:v>1413.0</c:v>
                </c:pt>
                <c:pt idx="614">
                  <c:v>1414.0</c:v>
                </c:pt>
                <c:pt idx="615">
                  <c:v>1415.0</c:v>
                </c:pt>
                <c:pt idx="616">
                  <c:v>1416.0</c:v>
                </c:pt>
                <c:pt idx="617">
                  <c:v>1417.0</c:v>
                </c:pt>
                <c:pt idx="618">
                  <c:v>1418.0</c:v>
                </c:pt>
                <c:pt idx="619">
                  <c:v>1419.0</c:v>
                </c:pt>
                <c:pt idx="620">
                  <c:v>1420.0</c:v>
                </c:pt>
                <c:pt idx="621">
                  <c:v>1421.0</c:v>
                </c:pt>
                <c:pt idx="622">
                  <c:v>1422.0</c:v>
                </c:pt>
                <c:pt idx="623">
                  <c:v>1423.0</c:v>
                </c:pt>
                <c:pt idx="624">
                  <c:v>1424.0</c:v>
                </c:pt>
                <c:pt idx="625">
                  <c:v>1425.0</c:v>
                </c:pt>
                <c:pt idx="626">
                  <c:v>1426.0</c:v>
                </c:pt>
                <c:pt idx="627">
                  <c:v>1427.0</c:v>
                </c:pt>
                <c:pt idx="628">
                  <c:v>1428.0</c:v>
                </c:pt>
                <c:pt idx="629">
                  <c:v>1429.0</c:v>
                </c:pt>
                <c:pt idx="630">
                  <c:v>1430.0</c:v>
                </c:pt>
                <c:pt idx="631">
                  <c:v>1431.0</c:v>
                </c:pt>
                <c:pt idx="632">
                  <c:v>1432.0</c:v>
                </c:pt>
                <c:pt idx="633">
                  <c:v>1433.0</c:v>
                </c:pt>
                <c:pt idx="634">
                  <c:v>1434.0</c:v>
                </c:pt>
                <c:pt idx="635">
                  <c:v>1435.0</c:v>
                </c:pt>
                <c:pt idx="636">
                  <c:v>1436.0</c:v>
                </c:pt>
                <c:pt idx="637">
                  <c:v>1437.0</c:v>
                </c:pt>
                <c:pt idx="638">
                  <c:v>1438.0</c:v>
                </c:pt>
                <c:pt idx="639">
                  <c:v>1439.0</c:v>
                </c:pt>
                <c:pt idx="640">
                  <c:v>1440.0</c:v>
                </c:pt>
                <c:pt idx="641">
                  <c:v>1441.0</c:v>
                </c:pt>
                <c:pt idx="642">
                  <c:v>1442.0</c:v>
                </c:pt>
                <c:pt idx="643">
                  <c:v>1443.0</c:v>
                </c:pt>
                <c:pt idx="644">
                  <c:v>1444.0</c:v>
                </c:pt>
                <c:pt idx="645">
                  <c:v>1445.0</c:v>
                </c:pt>
                <c:pt idx="646">
                  <c:v>1446.0</c:v>
                </c:pt>
                <c:pt idx="647">
                  <c:v>1447.0</c:v>
                </c:pt>
                <c:pt idx="648">
                  <c:v>1448.0</c:v>
                </c:pt>
                <c:pt idx="649">
                  <c:v>1449.0</c:v>
                </c:pt>
                <c:pt idx="650">
                  <c:v>1450.0</c:v>
                </c:pt>
                <c:pt idx="651">
                  <c:v>1451.0</c:v>
                </c:pt>
                <c:pt idx="652">
                  <c:v>1452.0</c:v>
                </c:pt>
                <c:pt idx="653">
                  <c:v>1453.0</c:v>
                </c:pt>
                <c:pt idx="654">
                  <c:v>1454.0</c:v>
                </c:pt>
                <c:pt idx="655">
                  <c:v>1455.0</c:v>
                </c:pt>
                <c:pt idx="656">
                  <c:v>1456.0</c:v>
                </c:pt>
                <c:pt idx="657">
                  <c:v>1457.0</c:v>
                </c:pt>
                <c:pt idx="658">
                  <c:v>1458.0</c:v>
                </c:pt>
                <c:pt idx="659">
                  <c:v>1459.0</c:v>
                </c:pt>
                <c:pt idx="660">
                  <c:v>1460.0</c:v>
                </c:pt>
                <c:pt idx="661">
                  <c:v>1461.0</c:v>
                </c:pt>
                <c:pt idx="662">
                  <c:v>1462.0</c:v>
                </c:pt>
                <c:pt idx="663">
                  <c:v>1463.0</c:v>
                </c:pt>
                <c:pt idx="664">
                  <c:v>1464.0</c:v>
                </c:pt>
                <c:pt idx="665">
                  <c:v>1465.0</c:v>
                </c:pt>
                <c:pt idx="666">
                  <c:v>1466.0</c:v>
                </c:pt>
                <c:pt idx="667">
                  <c:v>1467.0</c:v>
                </c:pt>
                <c:pt idx="668">
                  <c:v>1468.0</c:v>
                </c:pt>
                <c:pt idx="669">
                  <c:v>1469.0</c:v>
                </c:pt>
                <c:pt idx="670">
                  <c:v>1470.0</c:v>
                </c:pt>
                <c:pt idx="671">
                  <c:v>1471.0</c:v>
                </c:pt>
                <c:pt idx="672">
                  <c:v>1472.0</c:v>
                </c:pt>
                <c:pt idx="673">
                  <c:v>1473.0</c:v>
                </c:pt>
                <c:pt idx="674">
                  <c:v>1474.0</c:v>
                </c:pt>
                <c:pt idx="675">
                  <c:v>1475.0</c:v>
                </c:pt>
                <c:pt idx="676">
                  <c:v>1476.0</c:v>
                </c:pt>
                <c:pt idx="677">
                  <c:v>1477.0</c:v>
                </c:pt>
                <c:pt idx="678">
                  <c:v>1478.0</c:v>
                </c:pt>
                <c:pt idx="679">
                  <c:v>1479.0</c:v>
                </c:pt>
                <c:pt idx="680">
                  <c:v>1480.0</c:v>
                </c:pt>
                <c:pt idx="681">
                  <c:v>1481.0</c:v>
                </c:pt>
                <c:pt idx="682">
                  <c:v>1482.0</c:v>
                </c:pt>
                <c:pt idx="683">
                  <c:v>1483.0</c:v>
                </c:pt>
                <c:pt idx="684">
                  <c:v>1484.0</c:v>
                </c:pt>
                <c:pt idx="685">
                  <c:v>1485.0</c:v>
                </c:pt>
                <c:pt idx="686">
                  <c:v>1486.0</c:v>
                </c:pt>
                <c:pt idx="687">
                  <c:v>1487.0</c:v>
                </c:pt>
                <c:pt idx="688">
                  <c:v>1488.0</c:v>
                </c:pt>
                <c:pt idx="689">
                  <c:v>1489.0</c:v>
                </c:pt>
                <c:pt idx="690">
                  <c:v>1490.0</c:v>
                </c:pt>
                <c:pt idx="691">
                  <c:v>1491.0</c:v>
                </c:pt>
                <c:pt idx="692">
                  <c:v>1492.0</c:v>
                </c:pt>
                <c:pt idx="693">
                  <c:v>1493.0</c:v>
                </c:pt>
                <c:pt idx="694">
                  <c:v>1494.0</c:v>
                </c:pt>
                <c:pt idx="695">
                  <c:v>1495.0</c:v>
                </c:pt>
                <c:pt idx="696">
                  <c:v>1496.0</c:v>
                </c:pt>
                <c:pt idx="697">
                  <c:v>1497.0</c:v>
                </c:pt>
                <c:pt idx="698">
                  <c:v>1498.0</c:v>
                </c:pt>
                <c:pt idx="699">
                  <c:v>1499.0</c:v>
                </c:pt>
                <c:pt idx="700">
                  <c:v>1500.0</c:v>
                </c:pt>
                <c:pt idx="701">
                  <c:v>1501.0</c:v>
                </c:pt>
                <c:pt idx="702">
                  <c:v>1502.0</c:v>
                </c:pt>
                <c:pt idx="703">
                  <c:v>1503.0</c:v>
                </c:pt>
                <c:pt idx="704">
                  <c:v>1504.0</c:v>
                </c:pt>
                <c:pt idx="705">
                  <c:v>1505.0</c:v>
                </c:pt>
                <c:pt idx="706">
                  <c:v>1506.0</c:v>
                </c:pt>
                <c:pt idx="707">
                  <c:v>1507.0</c:v>
                </c:pt>
                <c:pt idx="708">
                  <c:v>1508.0</c:v>
                </c:pt>
                <c:pt idx="709">
                  <c:v>1509.0</c:v>
                </c:pt>
                <c:pt idx="710">
                  <c:v>1510.0</c:v>
                </c:pt>
                <c:pt idx="711">
                  <c:v>1511.0</c:v>
                </c:pt>
                <c:pt idx="712">
                  <c:v>1512.0</c:v>
                </c:pt>
                <c:pt idx="713">
                  <c:v>1513.0</c:v>
                </c:pt>
                <c:pt idx="714">
                  <c:v>1514.0</c:v>
                </c:pt>
                <c:pt idx="715">
                  <c:v>1515.0</c:v>
                </c:pt>
                <c:pt idx="716">
                  <c:v>1516.0</c:v>
                </c:pt>
                <c:pt idx="717">
                  <c:v>1517.0</c:v>
                </c:pt>
                <c:pt idx="718">
                  <c:v>1518.0</c:v>
                </c:pt>
                <c:pt idx="719">
                  <c:v>1519.0</c:v>
                </c:pt>
                <c:pt idx="720">
                  <c:v>1520.0</c:v>
                </c:pt>
                <c:pt idx="721">
                  <c:v>1521.0</c:v>
                </c:pt>
                <c:pt idx="722">
                  <c:v>1522.0</c:v>
                </c:pt>
                <c:pt idx="723">
                  <c:v>1523.0</c:v>
                </c:pt>
                <c:pt idx="724">
                  <c:v>1524.0</c:v>
                </c:pt>
                <c:pt idx="725">
                  <c:v>1525.0</c:v>
                </c:pt>
                <c:pt idx="726">
                  <c:v>1526.0</c:v>
                </c:pt>
                <c:pt idx="727">
                  <c:v>1527.0</c:v>
                </c:pt>
                <c:pt idx="728">
                  <c:v>1528.0</c:v>
                </c:pt>
                <c:pt idx="729">
                  <c:v>1529.0</c:v>
                </c:pt>
                <c:pt idx="730">
                  <c:v>1530.0</c:v>
                </c:pt>
                <c:pt idx="731">
                  <c:v>1531.0</c:v>
                </c:pt>
                <c:pt idx="732">
                  <c:v>1532.0</c:v>
                </c:pt>
                <c:pt idx="733">
                  <c:v>1533.0</c:v>
                </c:pt>
                <c:pt idx="734">
                  <c:v>1534.0</c:v>
                </c:pt>
                <c:pt idx="735">
                  <c:v>1535.0</c:v>
                </c:pt>
                <c:pt idx="736">
                  <c:v>1536.0</c:v>
                </c:pt>
                <c:pt idx="737">
                  <c:v>1537.0</c:v>
                </c:pt>
                <c:pt idx="738">
                  <c:v>1538.0</c:v>
                </c:pt>
                <c:pt idx="739">
                  <c:v>1539.0</c:v>
                </c:pt>
                <c:pt idx="740">
                  <c:v>1540.0</c:v>
                </c:pt>
                <c:pt idx="741">
                  <c:v>1541.0</c:v>
                </c:pt>
                <c:pt idx="742">
                  <c:v>1542.0</c:v>
                </c:pt>
                <c:pt idx="743">
                  <c:v>1543.0</c:v>
                </c:pt>
                <c:pt idx="744">
                  <c:v>1544.0</c:v>
                </c:pt>
                <c:pt idx="745">
                  <c:v>1545.0</c:v>
                </c:pt>
                <c:pt idx="746">
                  <c:v>1546.0</c:v>
                </c:pt>
                <c:pt idx="747">
                  <c:v>1547.0</c:v>
                </c:pt>
                <c:pt idx="748">
                  <c:v>1548.0</c:v>
                </c:pt>
                <c:pt idx="749">
                  <c:v>1549.0</c:v>
                </c:pt>
                <c:pt idx="750">
                  <c:v>1550.0</c:v>
                </c:pt>
                <c:pt idx="751">
                  <c:v>1551.0</c:v>
                </c:pt>
                <c:pt idx="752">
                  <c:v>1552.0</c:v>
                </c:pt>
                <c:pt idx="753">
                  <c:v>1553.0</c:v>
                </c:pt>
                <c:pt idx="754">
                  <c:v>1554.0</c:v>
                </c:pt>
                <c:pt idx="755">
                  <c:v>1555.0</c:v>
                </c:pt>
                <c:pt idx="756">
                  <c:v>1556.0</c:v>
                </c:pt>
                <c:pt idx="757">
                  <c:v>1557.0</c:v>
                </c:pt>
                <c:pt idx="758">
                  <c:v>1558.0</c:v>
                </c:pt>
                <c:pt idx="759">
                  <c:v>1559.0</c:v>
                </c:pt>
                <c:pt idx="760">
                  <c:v>1560.0</c:v>
                </c:pt>
                <c:pt idx="761">
                  <c:v>1561.0</c:v>
                </c:pt>
                <c:pt idx="762">
                  <c:v>1562.0</c:v>
                </c:pt>
                <c:pt idx="763">
                  <c:v>1563.0</c:v>
                </c:pt>
                <c:pt idx="764">
                  <c:v>1564.0</c:v>
                </c:pt>
                <c:pt idx="765">
                  <c:v>1565.0</c:v>
                </c:pt>
                <c:pt idx="766">
                  <c:v>1566.0</c:v>
                </c:pt>
                <c:pt idx="767">
                  <c:v>1567.0</c:v>
                </c:pt>
                <c:pt idx="768">
                  <c:v>1568.0</c:v>
                </c:pt>
                <c:pt idx="769">
                  <c:v>1569.0</c:v>
                </c:pt>
                <c:pt idx="770">
                  <c:v>1570.0</c:v>
                </c:pt>
                <c:pt idx="771">
                  <c:v>1571.0</c:v>
                </c:pt>
                <c:pt idx="772">
                  <c:v>1572.0</c:v>
                </c:pt>
                <c:pt idx="773">
                  <c:v>1573.0</c:v>
                </c:pt>
                <c:pt idx="774">
                  <c:v>1574.0</c:v>
                </c:pt>
                <c:pt idx="775">
                  <c:v>1575.0</c:v>
                </c:pt>
                <c:pt idx="776">
                  <c:v>1576.0</c:v>
                </c:pt>
                <c:pt idx="777">
                  <c:v>1577.0</c:v>
                </c:pt>
                <c:pt idx="778">
                  <c:v>1578.0</c:v>
                </c:pt>
                <c:pt idx="779">
                  <c:v>1579.0</c:v>
                </c:pt>
                <c:pt idx="780">
                  <c:v>1580.0</c:v>
                </c:pt>
                <c:pt idx="781">
                  <c:v>1581.0</c:v>
                </c:pt>
                <c:pt idx="782">
                  <c:v>1582.0</c:v>
                </c:pt>
                <c:pt idx="783">
                  <c:v>1583.0</c:v>
                </c:pt>
                <c:pt idx="784">
                  <c:v>1584.0</c:v>
                </c:pt>
                <c:pt idx="785">
                  <c:v>1585.0</c:v>
                </c:pt>
                <c:pt idx="786">
                  <c:v>1586.0</c:v>
                </c:pt>
                <c:pt idx="787">
                  <c:v>1587.0</c:v>
                </c:pt>
                <c:pt idx="788">
                  <c:v>1588.0</c:v>
                </c:pt>
                <c:pt idx="789">
                  <c:v>1589.0</c:v>
                </c:pt>
                <c:pt idx="790">
                  <c:v>1590.0</c:v>
                </c:pt>
                <c:pt idx="791">
                  <c:v>1591.0</c:v>
                </c:pt>
                <c:pt idx="792">
                  <c:v>1592.0</c:v>
                </c:pt>
                <c:pt idx="793">
                  <c:v>1593.0</c:v>
                </c:pt>
                <c:pt idx="794">
                  <c:v>1594.0</c:v>
                </c:pt>
                <c:pt idx="795">
                  <c:v>1595.0</c:v>
                </c:pt>
                <c:pt idx="796">
                  <c:v>1596.0</c:v>
                </c:pt>
                <c:pt idx="797">
                  <c:v>1597.0</c:v>
                </c:pt>
                <c:pt idx="798">
                  <c:v>1598.0</c:v>
                </c:pt>
                <c:pt idx="799">
                  <c:v>1599.0</c:v>
                </c:pt>
                <c:pt idx="800">
                  <c:v>1600.0</c:v>
                </c:pt>
                <c:pt idx="801">
                  <c:v>1601.0</c:v>
                </c:pt>
                <c:pt idx="802">
                  <c:v>1602.0</c:v>
                </c:pt>
                <c:pt idx="803">
                  <c:v>1603.0</c:v>
                </c:pt>
                <c:pt idx="804">
                  <c:v>1604.0</c:v>
                </c:pt>
                <c:pt idx="805">
                  <c:v>1605.0</c:v>
                </c:pt>
                <c:pt idx="806">
                  <c:v>1606.0</c:v>
                </c:pt>
                <c:pt idx="807">
                  <c:v>1607.0</c:v>
                </c:pt>
                <c:pt idx="808">
                  <c:v>1608.0</c:v>
                </c:pt>
                <c:pt idx="809">
                  <c:v>1609.0</c:v>
                </c:pt>
                <c:pt idx="810">
                  <c:v>1610.0</c:v>
                </c:pt>
                <c:pt idx="811">
                  <c:v>1611.0</c:v>
                </c:pt>
                <c:pt idx="812">
                  <c:v>1612.0</c:v>
                </c:pt>
                <c:pt idx="813">
                  <c:v>1613.0</c:v>
                </c:pt>
                <c:pt idx="814">
                  <c:v>1614.0</c:v>
                </c:pt>
                <c:pt idx="815">
                  <c:v>1615.0</c:v>
                </c:pt>
                <c:pt idx="816">
                  <c:v>1616.0</c:v>
                </c:pt>
                <c:pt idx="817">
                  <c:v>1617.0</c:v>
                </c:pt>
                <c:pt idx="818">
                  <c:v>1618.0</c:v>
                </c:pt>
                <c:pt idx="819">
                  <c:v>1619.0</c:v>
                </c:pt>
                <c:pt idx="820">
                  <c:v>1620.0</c:v>
                </c:pt>
                <c:pt idx="821">
                  <c:v>1621.0</c:v>
                </c:pt>
                <c:pt idx="822">
                  <c:v>1622.0</c:v>
                </c:pt>
                <c:pt idx="823">
                  <c:v>1623.0</c:v>
                </c:pt>
                <c:pt idx="824">
                  <c:v>1624.0</c:v>
                </c:pt>
                <c:pt idx="825">
                  <c:v>1625.0</c:v>
                </c:pt>
                <c:pt idx="826">
                  <c:v>1626.0</c:v>
                </c:pt>
                <c:pt idx="827">
                  <c:v>1627.0</c:v>
                </c:pt>
                <c:pt idx="828">
                  <c:v>1628.0</c:v>
                </c:pt>
                <c:pt idx="829">
                  <c:v>1629.0</c:v>
                </c:pt>
                <c:pt idx="830">
                  <c:v>1630.0</c:v>
                </c:pt>
                <c:pt idx="831">
                  <c:v>1631.0</c:v>
                </c:pt>
                <c:pt idx="832">
                  <c:v>1632.0</c:v>
                </c:pt>
                <c:pt idx="833">
                  <c:v>1633.0</c:v>
                </c:pt>
                <c:pt idx="834">
                  <c:v>1634.0</c:v>
                </c:pt>
                <c:pt idx="835">
                  <c:v>1635.0</c:v>
                </c:pt>
                <c:pt idx="836">
                  <c:v>1636.0</c:v>
                </c:pt>
                <c:pt idx="837">
                  <c:v>1637.0</c:v>
                </c:pt>
                <c:pt idx="838">
                  <c:v>1638.0</c:v>
                </c:pt>
                <c:pt idx="839">
                  <c:v>1639.0</c:v>
                </c:pt>
                <c:pt idx="840">
                  <c:v>1640.0</c:v>
                </c:pt>
                <c:pt idx="841">
                  <c:v>1641.0</c:v>
                </c:pt>
                <c:pt idx="842">
                  <c:v>1642.0</c:v>
                </c:pt>
                <c:pt idx="843">
                  <c:v>1643.0</c:v>
                </c:pt>
                <c:pt idx="844">
                  <c:v>1644.0</c:v>
                </c:pt>
                <c:pt idx="845">
                  <c:v>1645.0</c:v>
                </c:pt>
                <c:pt idx="846">
                  <c:v>1646.0</c:v>
                </c:pt>
                <c:pt idx="847">
                  <c:v>1647.0</c:v>
                </c:pt>
                <c:pt idx="848">
                  <c:v>1648.0</c:v>
                </c:pt>
                <c:pt idx="849">
                  <c:v>1649.0</c:v>
                </c:pt>
                <c:pt idx="850">
                  <c:v>1650.0</c:v>
                </c:pt>
                <c:pt idx="851">
                  <c:v>1651.0</c:v>
                </c:pt>
                <c:pt idx="852">
                  <c:v>1652.0</c:v>
                </c:pt>
                <c:pt idx="853">
                  <c:v>1653.0</c:v>
                </c:pt>
                <c:pt idx="854">
                  <c:v>1654.0</c:v>
                </c:pt>
                <c:pt idx="855">
                  <c:v>1655.0</c:v>
                </c:pt>
                <c:pt idx="856">
                  <c:v>1656.0</c:v>
                </c:pt>
                <c:pt idx="857">
                  <c:v>1657.0</c:v>
                </c:pt>
                <c:pt idx="858">
                  <c:v>1658.0</c:v>
                </c:pt>
                <c:pt idx="859">
                  <c:v>1659.0</c:v>
                </c:pt>
                <c:pt idx="860">
                  <c:v>1660.0</c:v>
                </c:pt>
                <c:pt idx="861">
                  <c:v>1661.0</c:v>
                </c:pt>
                <c:pt idx="862">
                  <c:v>1662.0</c:v>
                </c:pt>
                <c:pt idx="863">
                  <c:v>1663.0</c:v>
                </c:pt>
                <c:pt idx="864">
                  <c:v>1664.0</c:v>
                </c:pt>
                <c:pt idx="865">
                  <c:v>1665.0</c:v>
                </c:pt>
                <c:pt idx="866">
                  <c:v>1666.0</c:v>
                </c:pt>
                <c:pt idx="867">
                  <c:v>1667.0</c:v>
                </c:pt>
                <c:pt idx="868">
                  <c:v>1668.0</c:v>
                </c:pt>
                <c:pt idx="869">
                  <c:v>1669.0</c:v>
                </c:pt>
                <c:pt idx="870">
                  <c:v>1670.0</c:v>
                </c:pt>
                <c:pt idx="871">
                  <c:v>1671.0</c:v>
                </c:pt>
                <c:pt idx="872">
                  <c:v>1672.0</c:v>
                </c:pt>
                <c:pt idx="873">
                  <c:v>1673.0</c:v>
                </c:pt>
                <c:pt idx="874">
                  <c:v>1674.0</c:v>
                </c:pt>
                <c:pt idx="875">
                  <c:v>1675.0</c:v>
                </c:pt>
                <c:pt idx="876">
                  <c:v>1676.0</c:v>
                </c:pt>
                <c:pt idx="877">
                  <c:v>1677.0</c:v>
                </c:pt>
                <c:pt idx="878">
                  <c:v>1678.0</c:v>
                </c:pt>
                <c:pt idx="879">
                  <c:v>1679.0</c:v>
                </c:pt>
                <c:pt idx="880">
                  <c:v>1680.0</c:v>
                </c:pt>
                <c:pt idx="881">
                  <c:v>1681.0</c:v>
                </c:pt>
                <c:pt idx="882">
                  <c:v>1682.0</c:v>
                </c:pt>
                <c:pt idx="883">
                  <c:v>1683.0</c:v>
                </c:pt>
                <c:pt idx="884">
                  <c:v>1684.0</c:v>
                </c:pt>
                <c:pt idx="885">
                  <c:v>1685.0</c:v>
                </c:pt>
                <c:pt idx="886">
                  <c:v>1686.0</c:v>
                </c:pt>
                <c:pt idx="887">
                  <c:v>1687.0</c:v>
                </c:pt>
                <c:pt idx="888">
                  <c:v>1688.0</c:v>
                </c:pt>
                <c:pt idx="889">
                  <c:v>1689.0</c:v>
                </c:pt>
                <c:pt idx="890">
                  <c:v>1690.0</c:v>
                </c:pt>
                <c:pt idx="891">
                  <c:v>1691.0</c:v>
                </c:pt>
                <c:pt idx="892">
                  <c:v>1692.0</c:v>
                </c:pt>
                <c:pt idx="893">
                  <c:v>1693.0</c:v>
                </c:pt>
                <c:pt idx="894">
                  <c:v>1694.0</c:v>
                </c:pt>
                <c:pt idx="895">
                  <c:v>1695.0</c:v>
                </c:pt>
                <c:pt idx="896">
                  <c:v>1696.0</c:v>
                </c:pt>
                <c:pt idx="897">
                  <c:v>1697.0</c:v>
                </c:pt>
                <c:pt idx="898">
                  <c:v>1698.0</c:v>
                </c:pt>
                <c:pt idx="899">
                  <c:v>1699.0</c:v>
                </c:pt>
                <c:pt idx="900">
                  <c:v>1700.0</c:v>
                </c:pt>
                <c:pt idx="901">
                  <c:v>1701.0</c:v>
                </c:pt>
                <c:pt idx="902">
                  <c:v>1702.0</c:v>
                </c:pt>
                <c:pt idx="903">
                  <c:v>1703.0</c:v>
                </c:pt>
                <c:pt idx="904">
                  <c:v>1704.0</c:v>
                </c:pt>
                <c:pt idx="905">
                  <c:v>1705.0</c:v>
                </c:pt>
                <c:pt idx="906">
                  <c:v>1706.0</c:v>
                </c:pt>
                <c:pt idx="907">
                  <c:v>1707.0</c:v>
                </c:pt>
                <c:pt idx="908">
                  <c:v>1708.0</c:v>
                </c:pt>
                <c:pt idx="909">
                  <c:v>1709.0</c:v>
                </c:pt>
                <c:pt idx="910">
                  <c:v>1710.0</c:v>
                </c:pt>
                <c:pt idx="911">
                  <c:v>1711.0</c:v>
                </c:pt>
                <c:pt idx="912">
                  <c:v>1712.0</c:v>
                </c:pt>
                <c:pt idx="913">
                  <c:v>1713.0</c:v>
                </c:pt>
                <c:pt idx="914">
                  <c:v>1714.0</c:v>
                </c:pt>
                <c:pt idx="915">
                  <c:v>1715.0</c:v>
                </c:pt>
                <c:pt idx="916">
                  <c:v>1716.0</c:v>
                </c:pt>
                <c:pt idx="917">
                  <c:v>1717.0</c:v>
                </c:pt>
                <c:pt idx="918">
                  <c:v>1718.0</c:v>
                </c:pt>
                <c:pt idx="919">
                  <c:v>1719.0</c:v>
                </c:pt>
                <c:pt idx="920">
                  <c:v>1720.0</c:v>
                </c:pt>
                <c:pt idx="921">
                  <c:v>1721.0</c:v>
                </c:pt>
                <c:pt idx="922">
                  <c:v>1722.0</c:v>
                </c:pt>
                <c:pt idx="923">
                  <c:v>1723.0</c:v>
                </c:pt>
                <c:pt idx="924">
                  <c:v>1724.0</c:v>
                </c:pt>
                <c:pt idx="925">
                  <c:v>1725.0</c:v>
                </c:pt>
                <c:pt idx="926">
                  <c:v>1726.0</c:v>
                </c:pt>
                <c:pt idx="927">
                  <c:v>1727.0</c:v>
                </c:pt>
                <c:pt idx="928">
                  <c:v>1728.0</c:v>
                </c:pt>
                <c:pt idx="929">
                  <c:v>1729.0</c:v>
                </c:pt>
                <c:pt idx="930">
                  <c:v>1730.0</c:v>
                </c:pt>
                <c:pt idx="931">
                  <c:v>1731.0</c:v>
                </c:pt>
                <c:pt idx="932">
                  <c:v>1732.0</c:v>
                </c:pt>
                <c:pt idx="933">
                  <c:v>1733.0</c:v>
                </c:pt>
                <c:pt idx="934">
                  <c:v>1734.0</c:v>
                </c:pt>
                <c:pt idx="935">
                  <c:v>1735.0</c:v>
                </c:pt>
                <c:pt idx="936">
                  <c:v>1736.0</c:v>
                </c:pt>
                <c:pt idx="937">
                  <c:v>1737.0</c:v>
                </c:pt>
                <c:pt idx="938">
                  <c:v>1738.0</c:v>
                </c:pt>
                <c:pt idx="939">
                  <c:v>1739.0</c:v>
                </c:pt>
                <c:pt idx="940">
                  <c:v>1740.0</c:v>
                </c:pt>
                <c:pt idx="941">
                  <c:v>1741.0</c:v>
                </c:pt>
                <c:pt idx="942">
                  <c:v>1742.0</c:v>
                </c:pt>
                <c:pt idx="943">
                  <c:v>1743.0</c:v>
                </c:pt>
                <c:pt idx="944">
                  <c:v>1744.0</c:v>
                </c:pt>
                <c:pt idx="945">
                  <c:v>1745.0</c:v>
                </c:pt>
                <c:pt idx="946">
                  <c:v>1746.0</c:v>
                </c:pt>
                <c:pt idx="947">
                  <c:v>1747.0</c:v>
                </c:pt>
                <c:pt idx="948">
                  <c:v>1748.0</c:v>
                </c:pt>
                <c:pt idx="949">
                  <c:v>1749.0</c:v>
                </c:pt>
                <c:pt idx="950">
                  <c:v>1750.0</c:v>
                </c:pt>
                <c:pt idx="951">
                  <c:v>1751.0</c:v>
                </c:pt>
                <c:pt idx="952">
                  <c:v>1752.0</c:v>
                </c:pt>
                <c:pt idx="953">
                  <c:v>1753.0</c:v>
                </c:pt>
                <c:pt idx="954">
                  <c:v>1754.0</c:v>
                </c:pt>
                <c:pt idx="955">
                  <c:v>1755.0</c:v>
                </c:pt>
                <c:pt idx="956">
                  <c:v>1756.0</c:v>
                </c:pt>
                <c:pt idx="957">
                  <c:v>1757.0</c:v>
                </c:pt>
                <c:pt idx="958">
                  <c:v>1758.0</c:v>
                </c:pt>
                <c:pt idx="959">
                  <c:v>1759.0</c:v>
                </c:pt>
                <c:pt idx="960">
                  <c:v>1760.0</c:v>
                </c:pt>
                <c:pt idx="961">
                  <c:v>1761.0</c:v>
                </c:pt>
                <c:pt idx="962">
                  <c:v>1762.0</c:v>
                </c:pt>
                <c:pt idx="963">
                  <c:v>1763.0</c:v>
                </c:pt>
                <c:pt idx="964">
                  <c:v>1764.0</c:v>
                </c:pt>
                <c:pt idx="965">
                  <c:v>1765.0</c:v>
                </c:pt>
                <c:pt idx="966">
                  <c:v>1766.0</c:v>
                </c:pt>
                <c:pt idx="967">
                  <c:v>1767.0</c:v>
                </c:pt>
                <c:pt idx="968">
                  <c:v>1768.0</c:v>
                </c:pt>
                <c:pt idx="969">
                  <c:v>1769.0</c:v>
                </c:pt>
                <c:pt idx="970">
                  <c:v>1770.0</c:v>
                </c:pt>
                <c:pt idx="971">
                  <c:v>1771.0</c:v>
                </c:pt>
                <c:pt idx="972">
                  <c:v>1772.0</c:v>
                </c:pt>
                <c:pt idx="973">
                  <c:v>1773.0</c:v>
                </c:pt>
                <c:pt idx="974">
                  <c:v>1774.0</c:v>
                </c:pt>
                <c:pt idx="975">
                  <c:v>1775.0</c:v>
                </c:pt>
                <c:pt idx="976">
                  <c:v>1776.0</c:v>
                </c:pt>
                <c:pt idx="977">
                  <c:v>1777.0</c:v>
                </c:pt>
                <c:pt idx="978">
                  <c:v>1778.0</c:v>
                </c:pt>
                <c:pt idx="979">
                  <c:v>1779.0</c:v>
                </c:pt>
                <c:pt idx="980">
                  <c:v>1780.0</c:v>
                </c:pt>
                <c:pt idx="981">
                  <c:v>1781.0</c:v>
                </c:pt>
                <c:pt idx="982">
                  <c:v>1782.0</c:v>
                </c:pt>
                <c:pt idx="983">
                  <c:v>1783.0</c:v>
                </c:pt>
                <c:pt idx="984">
                  <c:v>1784.0</c:v>
                </c:pt>
                <c:pt idx="985">
                  <c:v>1785.0</c:v>
                </c:pt>
                <c:pt idx="986">
                  <c:v>1786.0</c:v>
                </c:pt>
                <c:pt idx="987">
                  <c:v>1787.0</c:v>
                </c:pt>
                <c:pt idx="988">
                  <c:v>1788.0</c:v>
                </c:pt>
                <c:pt idx="989">
                  <c:v>1789.0</c:v>
                </c:pt>
                <c:pt idx="990">
                  <c:v>1790.0</c:v>
                </c:pt>
                <c:pt idx="991">
                  <c:v>1791.0</c:v>
                </c:pt>
                <c:pt idx="992">
                  <c:v>1792.0</c:v>
                </c:pt>
                <c:pt idx="993">
                  <c:v>1793.0</c:v>
                </c:pt>
                <c:pt idx="994">
                  <c:v>1794.0</c:v>
                </c:pt>
                <c:pt idx="995">
                  <c:v>1795.0</c:v>
                </c:pt>
                <c:pt idx="996">
                  <c:v>1796.0</c:v>
                </c:pt>
                <c:pt idx="997">
                  <c:v>1797.0</c:v>
                </c:pt>
                <c:pt idx="998">
                  <c:v>1798.0</c:v>
                </c:pt>
                <c:pt idx="999">
                  <c:v>1799.0</c:v>
                </c:pt>
                <c:pt idx="1000">
                  <c:v>1800.0</c:v>
                </c:pt>
                <c:pt idx="1001">
                  <c:v>1801.0</c:v>
                </c:pt>
                <c:pt idx="1002">
                  <c:v>1802.0</c:v>
                </c:pt>
                <c:pt idx="1003">
                  <c:v>1803.0</c:v>
                </c:pt>
                <c:pt idx="1004">
                  <c:v>1804.0</c:v>
                </c:pt>
                <c:pt idx="1005">
                  <c:v>1805.0</c:v>
                </c:pt>
                <c:pt idx="1006">
                  <c:v>1806.0</c:v>
                </c:pt>
                <c:pt idx="1007">
                  <c:v>1807.0</c:v>
                </c:pt>
                <c:pt idx="1008">
                  <c:v>1808.0</c:v>
                </c:pt>
                <c:pt idx="1009">
                  <c:v>1809.0</c:v>
                </c:pt>
                <c:pt idx="1010">
                  <c:v>1810.0</c:v>
                </c:pt>
                <c:pt idx="1011">
                  <c:v>1811.0</c:v>
                </c:pt>
                <c:pt idx="1012">
                  <c:v>1812.0</c:v>
                </c:pt>
                <c:pt idx="1013">
                  <c:v>1813.0</c:v>
                </c:pt>
                <c:pt idx="1014">
                  <c:v>1814.0</c:v>
                </c:pt>
                <c:pt idx="1015">
                  <c:v>1815.0</c:v>
                </c:pt>
                <c:pt idx="1016">
                  <c:v>1816.0</c:v>
                </c:pt>
                <c:pt idx="1017">
                  <c:v>1817.0</c:v>
                </c:pt>
                <c:pt idx="1018">
                  <c:v>1818.0</c:v>
                </c:pt>
                <c:pt idx="1019">
                  <c:v>1819.0</c:v>
                </c:pt>
                <c:pt idx="1020">
                  <c:v>1820.0</c:v>
                </c:pt>
                <c:pt idx="1021">
                  <c:v>1821.0</c:v>
                </c:pt>
                <c:pt idx="1022">
                  <c:v>1822.0</c:v>
                </c:pt>
                <c:pt idx="1023">
                  <c:v>1823.0</c:v>
                </c:pt>
                <c:pt idx="1024">
                  <c:v>1824.0</c:v>
                </c:pt>
                <c:pt idx="1025">
                  <c:v>1825.0</c:v>
                </c:pt>
                <c:pt idx="1026">
                  <c:v>1826.0</c:v>
                </c:pt>
                <c:pt idx="1027">
                  <c:v>1827.0</c:v>
                </c:pt>
                <c:pt idx="1028">
                  <c:v>1828.0</c:v>
                </c:pt>
                <c:pt idx="1029">
                  <c:v>1829.0</c:v>
                </c:pt>
                <c:pt idx="1030">
                  <c:v>1830.0</c:v>
                </c:pt>
                <c:pt idx="1031">
                  <c:v>1831.0</c:v>
                </c:pt>
                <c:pt idx="1032">
                  <c:v>1832.0</c:v>
                </c:pt>
                <c:pt idx="1033">
                  <c:v>1833.0</c:v>
                </c:pt>
                <c:pt idx="1034">
                  <c:v>1834.0</c:v>
                </c:pt>
                <c:pt idx="1035">
                  <c:v>1835.0</c:v>
                </c:pt>
                <c:pt idx="1036">
                  <c:v>1836.0</c:v>
                </c:pt>
                <c:pt idx="1037">
                  <c:v>1837.0</c:v>
                </c:pt>
                <c:pt idx="1038">
                  <c:v>1838.0</c:v>
                </c:pt>
                <c:pt idx="1039">
                  <c:v>1839.0</c:v>
                </c:pt>
                <c:pt idx="1040">
                  <c:v>1840.0</c:v>
                </c:pt>
                <c:pt idx="1041">
                  <c:v>1841.0</c:v>
                </c:pt>
                <c:pt idx="1042">
                  <c:v>1842.0</c:v>
                </c:pt>
                <c:pt idx="1043">
                  <c:v>1843.0</c:v>
                </c:pt>
                <c:pt idx="1044">
                  <c:v>1844.0</c:v>
                </c:pt>
                <c:pt idx="1045">
                  <c:v>1845.0</c:v>
                </c:pt>
                <c:pt idx="1046">
                  <c:v>1846.0</c:v>
                </c:pt>
                <c:pt idx="1047">
                  <c:v>1847.0</c:v>
                </c:pt>
                <c:pt idx="1048">
                  <c:v>1848.0</c:v>
                </c:pt>
                <c:pt idx="1049">
                  <c:v>1849.0</c:v>
                </c:pt>
                <c:pt idx="1050">
                  <c:v>1850.0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3-5A0E-42E2-BD86-ECA92B5BE3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1477390624"/>
        <c:axId val="-1477401888"/>
      </c:scatterChart>
      <c:valAx>
        <c:axId val="-147739062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hu-HU" b="1"/>
                  <a:t>mennyiség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hu-HU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-1477401888"/>
        <c:crosses val="autoZero"/>
        <c:crossBetween val="midCat"/>
      </c:valAx>
      <c:valAx>
        <c:axId val="-147740188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hu-HU" b="1"/>
                  <a:t>ár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hu-HU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-147739062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hu-H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Relationship Id="rId2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E63091-7B83-194A-9A5B-F883ABC42068}" type="datetimeFigureOut">
              <a:rPr lang="en-US" smtClean="0"/>
              <a:t>11/28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3F0EC7-C332-EB41-96F5-89A88EDB96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15275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50BAD2-04D5-9649-9106-3704CAAC72EC}" type="datetimeFigureOut">
              <a:rPr lang="en-US" smtClean="0"/>
              <a:t>11/28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DC0A99-56DD-D347-A82E-9C0A7A9E11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63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Digitálissá válni valójában nem jelent mást, mint egyre jobbnak lenni innovációban, egyre inkább képessé válni a változásokra. Az új technológiák és az </a:t>
            </a:r>
            <a:r>
              <a:rPr lang="hu-HU" dirty="0" err="1" smtClean="0"/>
              <a:t>adatvezérelt</a:t>
            </a:r>
            <a:r>
              <a:rPr lang="hu-HU" dirty="0" smtClean="0"/>
              <a:t> működés eltolja az egyensúlyt az eddig megszokott üzleti modellekhez képest. Inkrementális helyett </a:t>
            </a:r>
            <a:r>
              <a:rPr lang="hu-HU" dirty="0" err="1" smtClean="0"/>
              <a:t>diszruptív</a:t>
            </a:r>
            <a:r>
              <a:rPr lang="hu-HU" dirty="0" smtClean="0"/>
              <a:t> változások mozgatják a piacot, a kiszámíthatóság helyett kockázatvállalás, illetve az epizodikus helyett folyamatos fejlesztések biztosítanak sikert és üzleti értéket, sőt, sok esetben magát a túlélést is. (Gartner </a:t>
            </a:r>
            <a:r>
              <a:rPr lang="hu-HU" dirty="0" err="1" smtClean="0"/>
              <a:t>prezi</a:t>
            </a:r>
            <a:r>
              <a:rPr lang="hu-HU" dirty="0" smtClean="0"/>
              <a:t>)</a:t>
            </a:r>
          </a:p>
          <a:p>
            <a:endParaRPr lang="hu-HU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Successful innovation must combine creativity with process to transform novel ideas into business value. Innovation management requires a clear strategy, a business focus, a defined process model, an understanding of human motivation and a willingness to constantly experiment with alternate approaches and adjust programs according to context and culture.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DC0A99-56DD-D347-A82E-9C0A7A9E115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3313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DC0A99-56DD-D347-A82E-9C0A7A9E115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25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hu-HU" dirty="0" smtClean="0"/>
              <a:t>B2C </a:t>
            </a:r>
            <a:r>
              <a:rPr lang="mr-IN" dirty="0" smtClean="0"/>
              <a:t>–</a:t>
            </a:r>
            <a:r>
              <a:rPr lang="hu-HU" dirty="0" smtClean="0"/>
              <a:t> Zimmer Frei </a:t>
            </a:r>
            <a:r>
              <a:rPr lang="mr-IN" dirty="0" smtClean="0"/>
              <a:t>–</a:t>
            </a:r>
            <a:r>
              <a:rPr lang="hu-HU" dirty="0" smtClean="0"/>
              <a:t> utazási iroda </a:t>
            </a:r>
            <a:r>
              <a:rPr lang="mr-IN" dirty="0" smtClean="0"/>
              <a:t>–</a:t>
            </a:r>
            <a:r>
              <a:rPr lang="hu-HU" dirty="0" smtClean="0"/>
              <a:t> digitális </a:t>
            </a:r>
            <a:r>
              <a:rPr lang="hu-HU" dirty="0" err="1" smtClean="0"/>
              <a:t>zimmer</a:t>
            </a:r>
            <a:r>
              <a:rPr lang="hu-HU" dirty="0" smtClean="0"/>
              <a:t> </a:t>
            </a:r>
            <a:r>
              <a:rPr lang="hu-HU" dirty="0" err="1" smtClean="0"/>
              <a:t>frei</a:t>
            </a:r>
            <a:r>
              <a:rPr lang="hu-HU" dirty="0" smtClean="0"/>
              <a:t> (4 órán belüli foglalások </a:t>
            </a:r>
            <a:r>
              <a:rPr lang="hu-HU" dirty="0" err="1" smtClean="0"/>
              <a:t>növekszenek</a:t>
            </a:r>
            <a:r>
              <a:rPr lang="hu-HU" dirty="0" smtClean="0"/>
              <a:t>, mert az ügyfél megteheti hogy </a:t>
            </a:r>
            <a:r>
              <a:rPr lang="hu-HU" dirty="0" err="1" smtClean="0"/>
              <a:t>adhoc</a:t>
            </a:r>
            <a:r>
              <a:rPr lang="hu-HU" dirty="0" smtClean="0"/>
              <a:t> foglal)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DC0A99-56DD-D347-A82E-9C0A7A9E115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39340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hu-HU" dirty="0" smtClean="0"/>
              <a:t>B2C - Vígszínház online bérletvásárlás vs. </a:t>
            </a:r>
            <a:r>
              <a:rPr lang="hu-HU" dirty="0" err="1" smtClean="0"/>
              <a:t>Wizzair</a:t>
            </a:r>
            <a:r>
              <a:rPr lang="hu-HU" dirty="0" smtClean="0"/>
              <a:t> (online vett papírbérlet arra jó, hogy tudnak </a:t>
            </a:r>
            <a:r>
              <a:rPr lang="hu-HU" dirty="0" err="1" smtClean="0"/>
              <a:t>adworsben</a:t>
            </a:r>
            <a:r>
              <a:rPr lang="hu-HU" dirty="0" smtClean="0"/>
              <a:t> hirdetni vs. </a:t>
            </a:r>
            <a:r>
              <a:rPr lang="en-US" dirty="0" smtClean="0"/>
              <a:t>A</a:t>
            </a:r>
            <a:r>
              <a:rPr lang="hu-HU" dirty="0" smtClean="0"/>
              <a:t> </a:t>
            </a:r>
            <a:r>
              <a:rPr lang="hu-HU" dirty="0" err="1" smtClean="0"/>
              <a:t>wizzair</a:t>
            </a:r>
            <a:r>
              <a:rPr lang="hu-HU" dirty="0" smtClean="0"/>
              <a:t> szétoptimalizálja az árakat, </a:t>
            </a:r>
            <a:r>
              <a:rPr lang="hu-HU" dirty="0" err="1" smtClean="0"/>
              <a:t>kihasználtságot</a:t>
            </a:r>
            <a:r>
              <a:rPr lang="hu-HU" dirty="0" smtClean="0"/>
              <a:t> mindent mert </a:t>
            </a:r>
            <a:r>
              <a:rPr lang="hu-HU" dirty="0" err="1" smtClean="0"/>
              <a:t>full</a:t>
            </a:r>
            <a:r>
              <a:rPr lang="hu-HU" dirty="0" smtClean="0"/>
              <a:t> </a:t>
            </a:r>
            <a:r>
              <a:rPr lang="hu-HU" dirty="0" err="1" smtClean="0"/>
              <a:t>digital</a:t>
            </a:r>
            <a:r>
              <a:rPr lang="hu-HU" dirty="0" smtClean="0"/>
              <a:t>)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DC0A99-56DD-D347-A82E-9C0A7A9E115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268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hu-HU" dirty="0" smtClean="0"/>
              <a:t>B2B </a:t>
            </a:r>
            <a:r>
              <a:rPr lang="mr-IN" dirty="0" smtClean="0"/>
              <a:t>–</a:t>
            </a:r>
            <a:r>
              <a:rPr lang="hu-HU" dirty="0" smtClean="0"/>
              <a:t> </a:t>
            </a:r>
            <a:r>
              <a:rPr lang="hu-HU" dirty="0" err="1" smtClean="0"/>
              <a:t>Rosé</a:t>
            </a:r>
            <a:r>
              <a:rPr lang="hu-HU" dirty="0" smtClean="0"/>
              <a:t> bor (kereskedőktől származó ár és fogyási adatok alapján a bortermelőnek meg lehet mondani, hogy mikor mennyiért adja a borát, hogy maximális profit legyen rajta)</a:t>
            </a:r>
            <a:br>
              <a:rPr lang="hu-HU" dirty="0" smtClean="0"/>
            </a:br>
            <a:r>
              <a:rPr lang="hu-HU" dirty="0" smtClean="0"/>
              <a:t>kereskedelmi cég a saját eladási adatait külső adatbázisokkal együtt használja üzletenként egy MI: prediktív logisztika: tudja, mi fog fogyni másnak, nem kell feleslegesen nagy készlet mindenből.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DC0A99-56DD-D347-A82E-9C0A7A9E115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8149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DC0A99-56DD-D347-A82E-9C0A7A9E115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062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B2G: </a:t>
            </a:r>
            <a:r>
              <a:rPr lang="hu-HU" dirty="0" err="1" smtClean="0"/>
              <a:t>Trump</a:t>
            </a:r>
            <a:r>
              <a:rPr lang="hu-HU" dirty="0" smtClean="0"/>
              <a:t>: 150 millió dolcsi </a:t>
            </a:r>
            <a:r>
              <a:rPr lang="hu-HU" dirty="0" err="1" smtClean="0"/>
              <a:t>adworsben</a:t>
            </a:r>
            <a:r>
              <a:rPr lang="hu-HU" dirty="0" smtClean="0"/>
              <a:t>, </a:t>
            </a:r>
            <a:r>
              <a:rPr lang="hu-HU" dirty="0" err="1" smtClean="0"/>
              <a:t>mikroszegmentálás</a:t>
            </a:r>
            <a:r>
              <a:rPr lang="hu-HU" dirty="0" smtClean="0"/>
              <a:t>, sok ezer féle üzenet</a:t>
            </a:r>
            <a:endParaRPr lang="en-US" dirty="0" smtClean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DC0A99-56DD-D347-A82E-9C0A7A9E115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783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B2G: </a:t>
            </a:r>
            <a:r>
              <a:rPr lang="hu-HU" dirty="0" err="1" smtClean="0"/>
              <a:t>Trump</a:t>
            </a:r>
            <a:r>
              <a:rPr lang="hu-HU" dirty="0" smtClean="0"/>
              <a:t>: 150 millió dolcsi </a:t>
            </a:r>
            <a:r>
              <a:rPr lang="hu-HU" dirty="0" err="1" smtClean="0"/>
              <a:t>adworsben</a:t>
            </a:r>
            <a:r>
              <a:rPr lang="hu-HU" dirty="0" smtClean="0"/>
              <a:t>, </a:t>
            </a:r>
            <a:r>
              <a:rPr lang="hu-HU" dirty="0" err="1" smtClean="0"/>
              <a:t>mikroszegmentálás</a:t>
            </a:r>
            <a:r>
              <a:rPr lang="hu-HU" dirty="0" smtClean="0"/>
              <a:t>, sok ezer féle üzenet</a:t>
            </a:r>
            <a:endParaRPr lang="en-US" dirty="0" smtClean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DC0A99-56DD-D347-A82E-9C0A7A9E115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783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DC0A99-56DD-D347-A82E-9C0A7A9E115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079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DC0A99-56DD-D347-A82E-9C0A7A9E115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7294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őcím #3 (egyszerű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/>
          <p:nvPr userDrawn="1"/>
        </p:nvSpPr>
        <p:spPr>
          <a:xfrm rot="10800000">
            <a:off x="-2" y="-2"/>
            <a:ext cx="12192001" cy="6858002"/>
          </a:xfrm>
          <a:prstGeom prst="rect">
            <a:avLst/>
          </a:prstGeom>
          <a:gradFill>
            <a:gsLst>
              <a:gs pos="0">
                <a:srgbClr val="3A559F"/>
              </a:gs>
              <a:gs pos="100000">
                <a:srgbClr val="41739F"/>
              </a:gs>
            </a:gsLst>
            <a:lin ang="5400000" scaled="0"/>
          </a:gra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79299" y="914400"/>
            <a:ext cx="11690316" cy="310481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800" b="1" i="0" spc="0">
                <a:solidFill>
                  <a:schemeClr val="bg1"/>
                </a:solidFill>
                <a:effectLst/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9299" y="4214582"/>
            <a:ext cx="11690316" cy="16483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3200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4434" y="5862918"/>
            <a:ext cx="1832867" cy="806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991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876E606-103F-CD44-A8F3-690C1FC8476C}" type="datetimeFigureOut">
              <a:rPr lang="en-US" smtClean="0"/>
              <a:t>11/28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896E53-DF4D-8B44-A428-C78320FC5E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070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876E606-103F-CD44-A8F3-690C1FC8476C}" type="datetimeFigureOut">
              <a:rPr lang="en-US" smtClean="0"/>
              <a:t>11/28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896E53-DF4D-8B44-A428-C78320FC5E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641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876E606-103F-CD44-A8F3-690C1FC8476C}" type="datetimeFigureOut">
              <a:rPr lang="en-US" smtClean="0"/>
              <a:t>11/28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896E53-DF4D-8B44-A428-C78320FC5E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790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jezetcí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/>
          <p:nvPr userDrawn="1"/>
        </p:nvSpPr>
        <p:spPr>
          <a:xfrm rot="10800000">
            <a:off x="-2" y="-2"/>
            <a:ext cx="12192001" cy="6858002"/>
          </a:xfrm>
          <a:prstGeom prst="rect">
            <a:avLst/>
          </a:prstGeom>
          <a:gradFill>
            <a:gsLst>
              <a:gs pos="0">
                <a:srgbClr val="3A559F"/>
              </a:gs>
              <a:gs pos="100000">
                <a:srgbClr val="41739F"/>
              </a:gs>
            </a:gsLst>
            <a:lin ang="10800000" scaled="0"/>
          </a:gra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43400" y="580292"/>
            <a:ext cx="7526214" cy="59436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5400" b="1" i="0" spc="0">
                <a:solidFill>
                  <a:schemeClr val="bg1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097217" y="2703635"/>
            <a:ext cx="0" cy="1547445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4025" y="3022409"/>
            <a:ext cx="1832867" cy="806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960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artalom (normá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/>
          <p:cNvSpPr/>
          <p:nvPr userDrawn="1"/>
        </p:nvSpPr>
        <p:spPr>
          <a:xfrm rot="16200000">
            <a:off x="5238641" y="-5868109"/>
            <a:ext cx="1719893" cy="12878492"/>
          </a:xfrm>
          <a:custGeom>
            <a:avLst/>
            <a:gdLst>
              <a:gd name="connsiteX0" fmla="*/ 0 w 6042212"/>
              <a:gd name="connsiteY0" fmla="*/ 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0 h 4446494"/>
              <a:gd name="connsiteX0" fmla="*/ 0 w 6042212"/>
              <a:gd name="connsiteY0" fmla="*/ 1793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17930 h 4446494"/>
              <a:gd name="connsiteX0" fmla="*/ 278902 w 6321114"/>
              <a:gd name="connsiteY0" fmla="*/ 17930 h 4446494"/>
              <a:gd name="connsiteX1" fmla="*/ 6321114 w 6321114"/>
              <a:gd name="connsiteY1" fmla="*/ 0 h 4446494"/>
              <a:gd name="connsiteX2" fmla="*/ 6321114 w 6321114"/>
              <a:gd name="connsiteY2" fmla="*/ 4446494 h 4446494"/>
              <a:gd name="connsiteX3" fmla="*/ 278902 w 6321114"/>
              <a:gd name="connsiteY3" fmla="*/ 4446494 h 4446494"/>
              <a:gd name="connsiteX4" fmla="*/ 278902 w 6321114"/>
              <a:gd name="connsiteY4" fmla="*/ 17930 h 4446494"/>
              <a:gd name="connsiteX0" fmla="*/ 293564 w 6335776"/>
              <a:gd name="connsiteY0" fmla="*/ 17930 h 4500282"/>
              <a:gd name="connsiteX1" fmla="*/ 6335776 w 6335776"/>
              <a:gd name="connsiteY1" fmla="*/ 0 h 4500282"/>
              <a:gd name="connsiteX2" fmla="*/ 6335776 w 6335776"/>
              <a:gd name="connsiteY2" fmla="*/ 4446494 h 4500282"/>
              <a:gd name="connsiteX3" fmla="*/ 239776 w 6335776"/>
              <a:gd name="connsiteY3" fmla="*/ 4500282 h 4500282"/>
              <a:gd name="connsiteX4" fmla="*/ 293564 w 6335776"/>
              <a:gd name="connsiteY4" fmla="*/ 17930 h 4500282"/>
              <a:gd name="connsiteX0" fmla="*/ 477596 w 6519808"/>
              <a:gd name="connsiteY0" fmla="*/ 17930 h 4500282"/>
              <a:gd name="connsiteX1" fmla="*/ 6519808 w 6519808"/>
              <a:gd name="connsiteY1" fmla="*/ 0 h 4500282"/>
              <a:gd name="connsiteX2" fmla="*/ 6519808 w 6519808"/>
              <a:gd name="connsiteY2" fmla="*/ 4446494 h 4500282"/>
              <a:gd name="connsiteX3" fmla="*/ 423808 w 6519808"/>
              <a:gd name="connsiteY3" fmla="*/ 4500282 h 4500282"/>
              <a:gd name="connsiteX4" fmla="*/ 477596 w 6519808"/>
              <a:gd name="connsiteY4" fmla="*/ 17930 h 4500282"/>
              <a:gd name="connsiteX0" fmla="*/ 401857 w 6444069"/>
              <a:gd name="connsiteY0" fmla="*/ 17930 h 4500282"/>
              <a:gd name="connsiteX1" fmla="*/ 6444069 w 6444069"/>
              <a:gd name="connsiteY1" fmla="*/ 0 h 4500282"/>
              <a:gd name="connsiteX2" fmla="*/ 6444069 w 6444069"/>
              <a:gd name="connsiteY2" fmla="*/ 4446494 h 4500282"/>
              <a:gd name="connsiteX3" fmla="*/ 348069 w 6444069"/>
              <a:gd name="connsiteY3" fmla="*/ 4500282 h 4500282"/>
              <a:gd name="connsiteX4" fmla="*/ 401857 w 6444069"/>
              <a:gd name="connsiteY4" fmla="*/ 17930 h 4500282"/>
              <a:gd name="connsiteX0" fmla="*/ 283039 w 6325251"/>
              <a:gd name="connsiteY0" fmla="*/ 17930 h 4500282"/>
              <a:gd name="connsiteX1" fmla="*/ 6325251 w 6325251"/>
              <a:gd name="connsiteY1" fmla="*/ 0 h 4500282"/>
              <a:gd name="connsiteX2" fmla="*/ 6325251 w 6325251"/>
              <a:gd name="connsiteY2" fmla="*/ 4446494 h 4500282"/>
              <a:gd name="connsiteX3" fmla="*/ 229251 w 6325251"/>
              <a:gd name="connsiteY3" fmla="*/ 4500282 h 4500282"/>
              <a:gd name="connsiteX4" fmla="*/ 283039 w 6325251"/>
              <a:gd name="connsiteY4" fmla="*/ 17930 h 4500282"/>
              <a:gd name="connsiteX0" fmla="*/ 255115 w 6297327"/>
              <a:gd name="connsiteY0" fmla="*/ 17930 h 4500282"/>
              <a:gd name="connsiteX1" fmla="*/ 6297327 w 6297327"/>
              <a:gd name="connsiteY1" fmla="*/ 0 h 4500282"/>
              <a:gd name="connsiteX2" fmla="*/ 6297327 w 6297327"/>
              <a:gd name="connsiteY2" fmla="*/ 4446494 h 4500282"/>
              <a:gd name="connsiteX3" fmla="*/ 201327 w 6297327"/>
              <a:gd name="connsiteY3" fmla="*/ 4500282 h 4500282"/>
              <a:gd name="connsiteX4" fmla="*/ 255115 w 6297327"/>
              <a:gd name="connsiteY4" fmla="*/ 17930 h 4500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7327" h="4500282">
                <a:moveTo>
                  <a:pt x="255115" y="17930"/>
                </a:moveTo>
                <a:lnTo>
                  <a:pt x="6297327" y="0"/>
                </a:lnTo>
                <a:lnTo>
                  <a:pt x="6297327" y="4446494"/>
                </a:lnTo>
                <a:lnTo>
                  <a:pt x="201327" y="4500282"/>
                </a:lnTo>
                <a:cubicBezTo>
                  <a:pt x="4636" y="3696446"/>
                  <a:pt x="-152470" y="1310345"/>
                  <a:pt x="255115" y="17930"/>
                </a:cubicBezTo>
                <a:close/>
              </a:path>
            </a:pathLst>
          </a:custGeom>
          <a:gradFill>
            <a:gsLst>
              <a:gs pos="0">
                <a:srgbClr val="3A559F"/>
              </a:gs>
              <a:gs pos="100000">
                <a:srgbClr val="41739F"/>
              </a:gs>
            </a:gsLst>
            <a:lin ang="16200000" scaled="0"/>
          </a:gradFill>
          <a:ln w="762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0331" y="1"/>
            <a:ext cx="9995646" cy="1332196"/>
          </a:xfrm>
          <a:prstGeom prst="rect">
            <a:avLst/>
          </a:prstGeom>
          <a:effectLst/>
        </p:spPr>
        <p:txBody>
          <a:bodyPr anchor="ctr"/>
          <a:lstStyle>
            <a:lvl1pPr>
              <a:defRPr sz="4000" b="1" i="0">
                <a:solidFill>
                  <a:schemeClr val="bg1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0329" y="1628405"/>
            <a:ext cx="11851341" cy="462905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3A559F"/>
              </a:buClr>
              <a:buFontTx/>
              <a:buBlip>
                <a:blip r:embed="rId2"/>
              </a:buBlip>
              <a:defRPr b="0" i="0">
                <a:latin typeface="Arial" charset="0"/>
                <a:ea typeface="Arial" charset="0"/>
                <a:cs typeface="Arial" charset="0"/>
              </a:defRPr>
            </a:lvl1pPr>
            <a:lvl2pPr marL="685800" indent="-228600">
              <a:buClr>
                <a:srgbClr val="3A559F"/>
              </a:buClr>
              <a:buFontTx/>
              <a:buBlip>
                <a:blip r:embed="rId2"/>
              </a:buBlip>
              <a:defRPr sz="2800" b="0" i="0"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buClr>
                <a:srgbClr val="3A559F"/>
              </a:buClr>
              <a:buFontTx/>
              <a:buBlip>
                <a:blip r:embed="rId2"/>
              </a:buBlip>
              <a:defRPr sz="2800" b="0" i="0"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buClr>
                <a:srgbClr val="3A559F"/>
              </a:buClr>
              <a:buFontTx/>
              <a:buBlip>
                <a:blip r:embed="rId2"/>
              </a:buBlip>
              <a:defRPr sz="2800" b="0" i="0"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buClr>
                <a:srgbClr val="3A559F"/>
              </a:buClr>
              <a:buFontTx/>
              <a:buBlip>
                <a:blip r:embed="rId2"/>
              </a:buBlip>
              <a:defRPr sz="2800"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/>
          <a:lstStyle>
            <a:lvl1pPr algn="ctr">
              <a:defRPr b="0" i="0">
                <a:solidFill>
                  <a:schemeClr val="bg1">
                    <a:lumMod val="65000"/>
                  </a:schemeClr>
                </a:solidFill>
                <a:latin typeface="Lato" charset="0"/>
                <a:ea typeface="Lato" charset="0"/>
                <a:cs typeface="Lato" charset="0"/>
              </a:defRPr>
            </a:lvl1pPr>
          </a:lstStyle>
          <a:p>
            <a:fld id="{2C896E53-DF4D-8B44-A428-C78320FC5E5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5681" y="255998"/>
            <a:ext cx="1432449" cy="630278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10410095" y="158265"/>
            <a:ext cx="0" cy="90000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1495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ége 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/>
          <p:nvPr userDrawn="1"/>
        </p:nvSpPr>
        <p:spPr>
          <a:xfrm rot="10800000">
            <a:off x="-2" y="-2"/>
            <a:ext cx="12192001" cy="6858002"/>
          </a:xfrm>
          <a:prstGeom prst="rect">
            <a:avLst/>
          </a:prstGeom>
          <a:gradFill>
            <a:gsLst>
              <a:gs pos="0">
                <a:srgbClr val="3A559F"/>
              </a:gs>
              <a:gs pos="100000">
                <a:srgbClr val="41739F"/>
              </a:gs>
            </a:gsLst>
            <a:lin ang="5400000" scaled="0"/>
          </a:gra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0842" y="914400"/>
            <a:ext cx="11690316" cy="310481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800" b="1" i="0" spc="0">
                <a:solidFill>
                  <a:schemeClr val="bg1"/>
                </a:solidFill>
                <a:effectLst/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4434" y="5862918"/>
            <a:ext cx="1832867" cy="806462"/>
          </a:xfrm>
          <a:prstGeom prst="rect">
            <a:avLst/>
          </a:prstGeom>
        </p:spPr>
      </p:pic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 dia (másolásho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6493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876E606-103F-CD44-A8F3-690C1FC8476C}" type="datetimeFigureOut">
              <a:rPr lang="en-US" smtClean="0"/>
              <a:t>11/28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896E53-DF4D-8B44-A428-C78320FC5E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68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876E606-103F-CD44-A8F3-690C1FC8476C}" type="datetimeFigureOut">
              <a:rPr lang="en-US" smtClean="0"/>
              <a:t>11/28/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896E53-DF4D-8B44-A428-C78320FC5E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39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876E606-103F-CD44-A8F3-690C1FC8476C}" type="datetimeFigureOut">
              <a:rPr lang="en-US" smtClean="0"/>
              <a:t>11/28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896E53-DF4D-8B44-A428-C78320FC5E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592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876E606-103F-CD44-A8F3-690C1FC8476C}" type="datetimeFigureOut">
              <a:rPr lang="en-US" smtClean="0"/>
              <a:t>11/28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896E53-DF4D-8B44-A428-C78320FC5E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081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170331" y="1"/>
            <a:ext cx="9995646" cy="1332196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chemeClr val="bg1"/>
                </a:solidFill>
                <a:effectLst/>
                <a:latin typeface="Lato" charset="0"/>
                <a:ea typeface="Lato" charset="0"/>
                <a:cs typeface="Lato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4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5594" y="334449"/>
            <a:ext cx="1352981" cy="592959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10410095" y="158265"/>
            <a:ext cx="0" cy="96257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9320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1" r:id="rId3"/>
    <p:sldLayoutId id="2147483665" r:id="rId4"/>
    <p:sldLayoutId id="2147483655" r:id="rId5"/>
    <p:sldLayoutId id="2147483652" r:id="rId6"/>
    <p:sldLayoutId id="2147483653" r:id="rId7"/>
    <p:sldLayoutId id="2147483654" r:id="rId8"/>
    <p:sldLayoutId id="2147483656" r:id="rId9"/>
    <p:sldLayoutId id="2147483657" r:id="rId10"/>
    <p:sldLayoutId id="2147483658" r:id="rId11"/>
    <p:sldLayoutId id="2147483659" r:id="rId1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A559F"/>
        </a:buClr>
        <a:buFont typeface="Wingdings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A559F"/>
        </a:buClr>
        <a:buFont typeface="Wingdings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A559F"/>
        </a:buClr>
        <a:buFont typeface="Wingdings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A559F"/>
        </a:buClr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A559F"/>
        </a:buClr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5.tiff"/><Relationship Id="rId3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tiff"/><Relationship Id="rId4" Type="http://schemas.openxmlformats.org/officeDocument/2006/relationships/image" Target="../media/image4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tiff"/><Relationship Id="rId4" Type="http://schemas.openxmlformats.org/officeDocument/2006/relationships/image" Target="../media/image4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4" Type="http://schemas.microsoft.com/office/2007/relationships/hdphoto" Target="../media/hdphoto1.wdp"/><Relationship Id="rId5" Type="http://schemas.openxmlformats.org/officeDocument/2006/relationships/image" Target="../media/image4.png"/><Relationship Id="rId6" Type="http://schemas.openxmlformats.org/officeDocument/2006/relationships/image" Target="../media/image31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4.png"/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4" Type="http://schemas.openxmlformats.org/officeDocument/2006/relationships/image" Target="../media/image4.png"/><Relationship Id="rId5" Type="http://schemas.openxmlformats.org/officeDocument/2006/relationships/image" Target="../media/image9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tiff"/><Relationship Id="rId5" Type="http://schemas.openxmlformats.org/officeDocument/2006/relationships/image" Target="../media/image4.png"/><Relationship Id="rId6" Type="http://schemas.openxmlformats.org/officeDocument/2006/relationships/image" Target="../media/image12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5" Type="http://schemas.openxmlformats.org/officeDocument/2006/relationships/image" Target="../media/image4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tags" Target="../tags/tag8.xml"/><Relationship Id="rId20" Type="http://schemas.openxmlformats.org/officeDocument/2006/relationships/oleObject" Target="../embeddings/oleObject2.bin"/><Relationship Id="rId21" Type="http://schemas.openxmlformats.org/officeDocument/2006/relationships/image" Target="../media/image16.emf"/><Relationship Id="rId10" Type="http://schemas.openxmlformats.org/officeDocument/2006/relationships/tags" Target="../tags/tag9.xml"/><Relationship Id="rId11" Type="http://schemas.openxmlformats.org/officeDocument/2006/relationships/tags" Target="../tags/tag10.xml"/><Relationship Id="rId12" Type="http://schemas.openxmlformats.org/officeDocument/2006/relationships/slideLayout" Target="../slideLayouts/slideLayout5.xml"/><Relationship Id="rId13" Type="http://schemas.openxmlformats.org/officeDocument/2006/relationships/notesSlide" Target="../notesSlides/notesSlide4.xml"/><Relationship Id="rId14" Type="http://schemas.openxmlformats.org/officeDocument/2006/relationships/image" Target="../media/image4.png"/><Relationship Id="rId15" Type="http://schemas.openxmlformats.org/officeDocument/2006/relationships/chart" Target="../charts/chart1.xml"/><Relationship Id="rId16" Type="http://schemas.openxmlformats.org/officeDocument/2006/relationships/image" Target="../media/image17.jpeg"/><Relationship Id="rId17" Type="http://schemas.openxmlformats.org/officeDocument/2006/relationships/chart" Target="../charts/chart2.xml"/><Relationship Id="rId18" Type="http://schemas.openxmlformats.org/officeDocument/2006/relationships/oleObject" Target="../embeddings/oleObject1.bin"/><Relationship Id="rId19" Type="http://schemas.openxmlformats.org/officeDocument/2006/relationships/image" Target="../media/image15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tags" Target="../tags/tag5.xml"/><Relationship Id="rId7" Type="http://schemas.openxmlformats.org/officeDocument/2006/relationships/tags" Target="../tags/tag6.xml"/><Relationship Id="rId8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18.png"/><Relationship Id="rId5" Type="http://schemas.openxmlformats.org/officeDocument/2006/relationships/image" Target="../media/image19.tiff"/><Relationship Id="rId6" Type="http://schemas.openxmlformats.org/officeDocument/2006/relationships/image" Target="../media/image20.png"/><Relationship Id="rId7" Type="http://schemas.openxmlformats.org/officeDocument/2006/relationships/image" Target="../media/image21.png"/><Relationship Id="rId8" Type="http://schemas.openxmlformats.org/officeDocument/2006/relationships/image" Target="../media/image22.png"/><Relationship Id="rId9" Type="http://schemas.openxmlformats.org/officeDocument/2006/relationships/image" Target="../media/image23.png"/><Relationship Id="rId10" Type="http://schemas.openxmlformats.org/officeDocument/2006/relationships/image" Target="../media/image24.png"/><Relationship Id="rId11" Type="http://schemas.openxmlformats.org/officeDocument/2006/relationships/image" Target="../media/image25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26.tiff"/><Relationship Id="rId5" Type="http://schemas.openxmlformats.org/officeDocument/2006/relationships/image" Target="../media/image27.tiff"/><Relationship Id="rId6" Type="http://schemas.openxmlformats.org/officeDocument/2006/relationships/image" Target="../media/image28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4" Type="http://schemas.openxmlformats.org/officeDocument/2006/relationships/image" Target="../media/image4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ép 7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413" y="-8766"/>
            <a:ext cx="5349447" cy="6866765"/>
          </a:xfrm>
          <a:prstGeom prst="rect">
            <a:avLst/>
          </a:prstGeom>
        </p:spPr>
      </p:pic>
      <p:sp>
        <p:nvSpPr>
          <p:cNvPr id="3" name="Rectangle 3"/>
          <p:cNvSpPr/>
          <p:nvPr/>
        </p:nvSpPr>
        <p:spPr>
          <a:xfrm>
            <a:off x="4906347" y="-171059"/>
            <a:ext cx="7429085" cy="7200118"/>
          </a:xfrm>
          <a:custGeom>
            <a:avLst/>
            <a:gdLst>
              <a:gd name="connsiteX0" fmla="*/ 0 w 6042212"/>
              <a:gd name="connsiteY0" fmla="*/ 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0 h 4446494"/>
              <a:gd name="connsiteX0" fmla="*/ 0 w 6042212"/>
              <a:gd name="connsiteY0" fmla="*/ 1793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17930 h 4446494"/>
              <a:gd name="connsiteX0" fmla="*/ 278902 w 6321114"/>
              <a:gd name="connsiteY0" fmla="*/ 17930 h 4446494"/>
              <a:gd name="connsiteX1" fmla="*/ 6321114 w 6321114"/>
              <a:gd name="connsiteY1" fmla="*/ 0 h 4446494"/>
              <a:gd name="connsiteX2" fmla="*/ 6321114 w 6321114"/>
              <a:gd name="connsiteY2" fmla="*/ 4446494 h 4446494"/>
              <a:gd name="connsiteX3" fmla="*/ 278902 w 6321114"/>
              <a:gd name="connsiteY3" fmla="*/ 4446494 h 4446494"/>
              <a:gd name="connsiteX4" fmla="*/ 278902 w 6321114"/>
              <a:gd name="connsiteY4" fmla="*/ 17930 h 4446494"/>
              <a:gd name="connsiteX0" fmla="*/ 293564 w 6335776"/>
              <a:gd name="connsiteY0" fmla="*/ 17930 h 4500282"/>
              <a:gd name="connsiteX1" fmla="*/ 6335776 w 6335776"/>
              <a:gd name="connsiteY1" fmla="*/ 0 h 4500282"/>
              <a:gd name="connsiteX2" fmla="*/ 6335776 w 6335776"/>
              <a:gd name="connsiteY2" fmla="*/ 4446494 h 4500282"/>
              <a:gd name="connsiteX3" fmla="*/ 239776 w 6335776"/>
              <a:gd name="connsiteY3" fmla="*/ 4500282 h 4500282"/>
              <a:gd name="connsiteX4" fmla="*/ 293564 w 6335776"/>
              <a:gd name="connsiteY4" fmla="*/ 17930 h 4500282"/>
              <a:gd name="connsiteX0" fmla="*/ 477596 w 6519808"/>
              <a:gd name="connsiteY0" fmla="*/ 17930 h 4500282"/>
              <a:gd name="connsiteX1" fmla="*/ 6519808 w 6519808"/>
              <a:gd name="connsiteY1" fmla="*/ 0 h 4500282"/>
              <a:gd name="connsiteX2" fmla="*/ 6519808 w 6519808"/>
              <a:gd name="connsiteY2" fmla="*/ 4446494 h 4500282"/>
              <a:gd name="connsiteX3" fmla="*/ 423808 w 6519808"/>
              <a:gd name="connsiteY3" fmla="*/ 4500282 h 4500282"/>
              <a:gd name="connsiteX4" fmla="*/ 477596 w 6519808"/>
              <a:gd name="connsiteY4" fmla="*/ 17930 h 4500282"/>
              <a:gd name="connsiteX0" fmla="*/ 401857 w 6444069"/>
              <a:gd name="connsiteY0" fmla="*/ 17930 h 4500282"/>
              <a:gd name="connsiteX1" fmla="*/ 6444069 w 6444069"/>
              <a:gd name="connsiteY1" fmla="*/ 0 h 4500282"/>
              <a:gd name="connsiteX2" fmla="*/ 6444069 w 6444069"/>
              <a:gd name="connsiteY2" fmla="*/ 4446494 h 4500282"/>
              <a:gd name="connsiteX3" fmla="*/ 348069 w 6444069"/>
              <a:gd name="connsiteY3" fmla="*/ 4500282 h 4500282"/>
              <a:gd name="connsiteX4" fmla="*/ 401857 w 6444069"/>
              <a:gd name="connsiteY4" fmla="*/ 17930 h 4500282"/>
              <a:gd name="connsiteX0" fmla="*/ 283039 w 6325251"/>
              <a:gd name="connsiteY0" fmla="*/ 17930 h 4500282"/>
              <a:gd name="connsiteX1" fmla="*/ 6325251 w 6325251"/>
              <a:gd name="connsiteY1" fmla="*/ 0 h 4500282"/>
              <a:gd name="connsiteX2" fmla="*/ 6325251 w 6325251"/>
              <a:gd name="connsiteY2" fmla="*/ 4446494 h 4500282"/>
              <a:gd name="connsiteX3" fmla="*/ 229251 w 6325251"/>
              <a:gd name="connsiteY3" fmla="*/ 4500282 h 4500282"/>
              <a:gd name="connsiteX4" fmla="*/ 283039 w 6325251"/>
              <a:gd name="connsiteY4" fmla="*/ 17930 h 4500282"/>
              <a:gd name="connsiteX0" fmla="*/ 255115 w 6297327"/>
              <a:gd name="connsiteY0" fmla="*/ 17930 h 4500282"/>
              <a:gd name="connsiteX1" fmla="*/ 6297327 w 6297327"/>
              <a:gd name="connsiteY1" fmla="*/ 0 h 4500282"/>
              <a:gd name="connsiteX2" fmla="*/ 6297327 w 6297327"/>
              <a:gd name="connsiteY2" fmla="*/ 4446494 h 4500282"/>
              <a:gd name="connsiteX3" fmla="*/ 201327 w 6297327"/>
              <a:gd name="connsiteY3" fmla="*/ 4500282 h 4500282"/>
              <a:gd name="connsiteX4" fmla="*/ 255115 w 6297327"/>
              <a:gd name="connsiteY4" fmla="*/ 17930 h 4500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7327" h="4500282">
                <a:moveTo>
                  <a:pt x="255115" y="17930"/>
                </a:moveTo>
                <a:lnTo>
                  <a:pt x="6297327" y="0"/>
                </a:lnTo>
                <a:lnTo>
                  <a:pt x="6297327" y="4446494"/>
                </a:lnTo>
                <a:lnTo>
                  <a:pt x="201327" y="4500282"/>
                </a:lnTo>
                <a:cubicBezTo>
                  <a:pt x="4636" y="3696446"/>
                  <a:pt x="-152470" y="1310345"/>
                  <a:pt x="255115" y="17930"/>
                </a:cubicBezTo>
                <a:close/>
              </a:path>
            </a:pathLst>
          </a:custGeom>
          <a:gradFill>
            <a:gsLst>
              <a:gs pos="0">
                <a:srgbClr val="3A559F"/>
              </a:gs>
              <a:gs pos="100000">
                <a:srgbClr val="41739F"/>
              </a:gs>
            </a:gsLst>
            <a:lin ang="10800000" scaled="0"/>
          </a:gra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325034" y="914400"/>
            <a:ext cx="6615954" cy="3104810"/>
          </a:xfrm>
          <a:prstGeom prst="rect">
            <a:avLst/>
          </a:prstGeom>
        </p:spPr>
        <p:txBody>
          <a:bodyPr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i="0" kern="1200" spc="0">
                <a:solidFill>
                  <a:schemeClr val="bg1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hu-HU" sz="4400" dirty="0" smtClean="0"/>
              <a:t>Adatgazdaság </a:t>
            </a:r>
            <a:r>
              <a:rPr lang="mr-IN" sz="4400" dirty="0" smtClean="0"/>
              <a:t>–</a:t>
            </a:r>
            <a:r>
              <a:rPr lang="hu-HU" sz="4400" dirty="0" smtClean="0"/>
              <a:t> lehetőség hazai fejlesztőknek is</a:t>
            </a:r>
            <a:endParaRPr lang="en-US" sz="4400" dirty="0"/>
          </a:p>
        </p:txBody>
      </p:sp>
      <p:sp>
        <p:nvSpPr>
          <p:cNvPr id="5" name="Subtitle 2"/>
          <p:cNvSpPr txBox="1">
            <a:spLocks/>
          </p:cNvSpPr>
          <p:nvPr/>
        </p:nvSpPr>
        <p:spPr>
          <a:xfrm>
            <a:off x="5325034" y="4214582"/>
            <a:ext cx="5056094" cy="16483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A559F"/>
              </a:buClr>
              <a:buFont typeface="Wingdings" charset="2"/>
              <a:buNone/>
              <a:defRPr sz="3200" b="0" i="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A559F"/>
              </a:buClr>
              <a:buFont typeface="Wingdings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A559F"/>
              </a:buClr>
              <a:buFont typeface="Wingdings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A559F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A559F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/>
              <a:t>Major </a:t>
            </a:r>
            <a:r>
              <a:rPr lang="en-US" b="1" dirty="0" err="1"/>
              <a:t>Gábor</a:t>
            </a:r>
            <a:endParaRPr lang="en-US" b="1" dirty="0"/>
          </a:p>
          <a:p>
            <a:r>
              <a:rPr lang="en-US" dirty="0"/>
              <a:t>IVSZ </a:t>
            </a:r>
            <a:r>
              <a:rPr lang="en-US" dirty="0" err="1"/>
              <a:t>főtitkár</a:t>
            </a:r>
            <a:endParaRPr lang="en-US" dirty="0"/>
          </a:p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-17585" y="-19343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007" y="6038898"/>
            <a:ext cx="1352981" cy="595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968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/>
          <p:cNvPicPr>
            <a:picLocks noChangeAspect="1"/>
          </p:cNvPicPr>
          <p:nvPr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058265"/>
            <a:ext cx="12192001" cy="5799735"/>
          </a:xfrm>
          <a:prstGeom prst="rect">
            <a:avLst/>
          </a:prstGeom>
        </p:spPr>
      </p:pic>
      <p:sp>
        <p:nvSpPr>
          <p:cNvPr id="2" name="Title 1"/>
          <p:cNvSpPr txBox="1">
            <a:spLocks/>
          </p:cNvSpPr>
          <p:nvPr/>
        </p:nvSpPr>
        <p:spPr>
          <a:xfrm>
            <a:off x="4343400" y="580292"/>
            <a:ext cx="7526214" cy="5943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SPECIÁLIS DIÁK</a:t>
            </a:r>
            <a:endParaRPr lang="en-US" dirty="0"/>
          </a:p>
        </p:txBody>
      </p:sp>
      <p:sp>
        <p:nvSpPr>
          <p:cNvPr id="5" name="Rectangle 3"/>
          <p:cNvSpPr/>
          <p:nvPr/>
        </p:nvSpPr>
        <p:spPr>
          <a:xfrm rot="16200000">
            <a:off x="5238641" y="-5868109"/>
            <a:ext cx="1719893" cy="12878492"/>
          </a:xfrm>
          <a:custGeom>
            <a:avLst/>
            <a:gdLst>
              <a:gd name="connsiteX0" fmla="*/ 0 w 6042212"/>
              <a:gd name="connsiteY0" fmla="*/ 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0 h 4446494"/>
              <a:gd name="connsiteX0" fmla="*/ 0 w 6042212"/>
              <a:gd name="connsiteY0" fmla="*/ 1793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17930 h 4446494"/>
              <a:gd name="connsiteX0" fmla="*/ 278902 w 6321114"/>
              <a:gd name="connsiteY0" fmla="*/ 17930 h 4446494"/>
              <a:gd name="connsiteX1" fmla="*/ 6321114 w 6321114"/>
              <a:gd name="connsiteY1" fmla="*/ 0 h 4446494"/>
              <a:gd name="connsiteX2" fmla="*/ 6321114 w 6321114"/>
              <a:gd name="connsiteY2" fmla="*/ 4446494 h 4446494"/>
              <a:gd name="connsiteX3" fmla="*/ 278902 w 6321114"/>
              <a:gd name="connsiteY3" fmla="*/ 4446494 h 4446494"/>
              <a:gd name="connsiteX4" fmla="*/ 278902 w 6321114"/>
              <a:gd name="connsiteY4" fmla="*/ 17930 h 4446494"/>
              <a:gd name="connsiteX0" fmla="*/ 293564 w 6335776"/>
              <a:gd name="connsiteY0" fmla="*/ 17930 h 4500282"/>
              <a:gd name="connsiteX1" fmla="*/ 6335776 w 6335776"/>
              <a:gd name="connsiteY1" fmla="*/ 0 h 4500282"/>
              <a:gd name="connsiteX2" fmla="*/ 6335776 w 6335776"/>
              <a:gd name="connsiteY2" fmla="*/ 4446494 h 4500282"/>
              <a:gd name="connsiteX3" fmla="*/ 239776 w 6335776"/>
              <a:gd name="connsiteY3" fmla="*/ 4500282 h 4500282"/>
              <a:gd name="connsiteX4" fmla="*/ 293564 w 6335776"/>
              <a:gd name="connsiteY4" fmla="*/ 17930 h 4500282"/>
              <a:gd name="connsiteX0" fmla="*/ 477596 w 6519808"/>
              <a:gd name="connsiteY0" fmla="*/ 17930 h 4500282"/>
              <a:gd name="connsiteX1" fmla="*/ 6519808 w 6519808"/>
              <a:gd name="connsiteY1" fmla="*/ 0 h 4500282"/>
              <a:gd name="connsiteX2" fmla="*/ 6519808 w 6519808"/>
              <a:gd name="connsiteY2" fmla="*/ 4446494 h 4500282"/>
              <a:gd name="connsiteX3" fmla="*/ 423808 w 6519808"/>
              <a:gd name="connsiteY3" fmla="*/ 4500282 h 4500282"/>
              <a:gd name="connsiteX4" fmla="*/ 477596 w 6519808"/>
              <a:gd name="connsiteY4" fmla="*/ 17930 h 4500282"/>
              <a:gd name="connsiteX0" fmla="*/ 401857 w 6444069"/>
              <a:gd name="connsiteY0" fmla="*/ 17930 h 4500282"/>
              <a:gd name="connsiteX1" fmla="*/ 6444069 w 6444069"/>
              <a:gd name="connsiteY1" fmla="*/ 0 h 4500282"/>
              <a:gd name="connsiteX2" fmla="*/ 6444069 w 6444069"/>
              <a:gd name="connsiteY2" fmla="*/ 4446494 h 4500282"/>
              <a:gd name="connsiteX3" fmla="*/ 348069 w 6444069"/>
              <a:gd name="connsiteY3" fmla="*/ 4500282 h 4500282"/>
              <a:gd name="connsiteX4" fmla="*/ 401857 w 6444069"/>
              <a:gd name="connsiteY4" fmla="*/ 17930 h 4500282"/>
              <a:gd name="connsiteX0" fmla="*/ 283039 w 6325251"/>
              <a:gd name="connsiteY0" fmla="*/ 17930 h 4500282"/>
              <a:gd name="connsiteX1" fmla="*/ 6325251 w 6325251"/>
              <a:gd name="connsiteY1" fmla="*/ 0 h 4500282"/>
              <a:gd name="connsiteX2" fmla="*/ 6325251 w 6325251"/>
              <a:gd name="connsiteY2" fmla="*/ 4446494 h 4500282"/>
              <a:gd name="connsiteX3" fmla="*/ 229251 w 6325251"/>
              <a:gd name="connsiteY3" fmla="*/ 4500282 h 4500282"/>
              <a:gd name="connsiteX4" fmla="*/ 283039 w 6325251"/>
              <a:gd name="connsiteY4" fmla="*/ 17930 h 4500282"/>
              <a:gd name="connsiteX0" fmla="*/ 255115 w 6297327"/>
              <a:gd name="connsiteY0" fmla="*/ 17930 h 4500282"/>
              <a:gd name="connsiteX1" fmla="*/ 6297327 w 6297327"/>
              <a:gd name="connsiteY1" fmla="*/ 0 h 4500282"/>
              <a:gd name="connsiteX2" fmla="*/ 6297327 w 6297327"/>
              <a:gd name="connsiteY2" fmla="*/ 4446494 h 4500282"/>
              <a:gd name="connsiteX3" fmla="*/ 201327 w 6297327"/>
              <a:gd name="connsiteY3" fmla="*/ 4500282 h 4500282"/>
              <a:gd name="connsiteX4" fmla="*/ 255115 w 6297327"/>
              <a:gd name="connsiteY4" fmla="*/ 17930 h 4500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7327" h="4500282">
                <a:moveTo>
                  <a:pt x="255115" y="17930"/>
                </a:moveTo>
                <a:lnTo>
                  <a:pt x="6297327" y="0"/>
                </a:lnTo>
                <a:lnTo>
                  <a:pt x="6297327" y="4446494"/>
                </a:lnTo>
                <a:lnTo>
                  <a:pt x="201327" y="4500282"/>
                </a:lnTo>
                <a:cubicBezTo>
                  <a:pt x="4636" y="3696446"/>
                  <a:pt x="-152470" y="1310345"/>
                  <a:pt x="255115" y="17930"/>
                </a:cubicBezTo>
                <a:close/>
              </a:path>
            </a:pathLst>
          </a:custGeom>
          <a:gradFill>
            <a:gsLst>
              <a:gs pos="0">
                <a:srgbClr val="3A559F"/>
              </a:gs>
              <a:gs pos="100000">
                <a:srgbClr val="41739F"/>
              </a:gs>
            </a:gsLst>
            <a:lin ang="16200000" scaled="0"/>
          </a:gradFill>
          <a:ln w="762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70331" y="1"/>
            <a:ext cx="9995646" cy="1332196"/>
          </a:xfrm>
          <a:prstGeom prst="rect">
            <a:avLst/>
          </a:prstGeom>
          <a:effectLst/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0">
                <a:solidFill>
                  <a:schemeClr val="bg1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hu-HU" dirty="0" smtClean="0"/>
              <a:t>Közadat vagyon</a:t>
            </a:r>
            <a:endParaRPr lang="en-US" dirty="0"/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221" y="324415"/>
            <a:ext cx="1432449" cy="630278"/>
          </a:xfrm>
          <a:prstGeom prst="rect">
            <a:avLst/>
          </a:prstGeom>
        </p:spPr>
      </p:pic>
      <p:cxnSp>
        <p:nvCxnSpPr>
          <p:cNvPr id="8" name="Straight Connector 8"/>
          <p:cNvCxnSpPr/>
          <p:nvPr/>
        </p:nvCxnSpPr>
        <p:spPr>
          <a:xfrm>
            <a:off x="10410095" y="158265"/>
            <a:ext cx="0" cy="90000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églalap 3"/>
          <p:cNvSpPr/>
          <p:nvPr/>
        </p:nvSpPr>
        <p:spPr>
          <a:xfrm>
            <a:off x="170331" y="1395283"/>
            <a:ext cx="9423374" cy="587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 smtClean="0"/>
              <a:t>Ha </a:t>
            </a:r>
            <a:r>
              <a:rPr lang="en-US" sz="3200" b="1" dirty="0" err="1" smtClean="0"/>
              <a:t>csapra</a:t>
            </a:r>
            <a:r>
              <a:rPr lang="en-US" sz="3200" b="1" dirty="0" smtClean="0"/>
              <a:t> </a:t>
            </a:r>
            <a:r>
              <a:rPr lang="en-US" sz="3200" b="1" dirty="0" err="1" smtClean="0"/>
              <a:t>vernénk</a:t>
            </a:r>
            <a:r>
              <a:rPr lang="en-US" sz="3200" b="1" dirty="0" smtClean="0"/>
              <a:t>, </a:t>
            </a:r>
            <a:r>
              <a:rPr lang="en-US" sz="3200" b="1" dirty="0" err="1" smtClean="0"/>
              <a:t>lángra</a:t>
            </a:r>
            <a:r>
              <a:rPr lang="en-US" sz="3200" b="1" dirty="0" smtClean="0"/>
              <a:t> </a:t>
            </a:r>
            <a:r>
              <a:rPr lang="en-US" sz="3200" b="1" dirty="0" err="1" smtClean="0"/>
              <a:t>kapna</a:t>
            </a:r>
            <a:r>
              <a:rPr lang="mr-IN" sz="3200" b="1" dirty="0" smtClean="0"/>
              <a:t>…</a:t>
            </a:r>
            <a:endParaRPr lang="en-US" sz="3200" b="1" dirty="0" smtClean="0"/>
          </a:p>
          <a:p>
            <a:pPr marL="514350" indent="-514350">
              <a:buFont typeface="Arial" charset="0"/>
              <a:buChar char="•"/>
            </a:pPr>
            <a:endParaRPr lang="en-US" sz="3200" dirty="0" smtClean="0"/>
          </a:p>
          <a:p>
            <a:pPr marL="514350" indent="-514350">
              <a:buFont typeface="Arial" charset="0"/>
              <a:buChar char="•"/>
            </a:pPr>
            <a:r>
              <a:rPr lang="en-US" sz="2800" dirty="0" err="1" smtClean="0"/>
              <a:t>meteorológiai</a:t>
            </a:r>
            <a:r>
              <a:rPr lang="en-US" sz="2800" dirty="0" smtClean="0"/>
              <a:t> </a:t>
            </a:r>
            <a:r>
              <a:rPr lang="en-US" sz="2800" dirty="0" err="1"/>
              <a:t>adatok</a:t>
            </a:r>
            <a:r>
              <a:rPr lang="en-US" sz="2800" dirty="0"/>
              <a:t> </a:t>
            </a:r>
          </a:p>
          <a:p>
            <a:pPr marL="514350" indent="-514350">
              <a:buFont typeface="Arial" charset="0"/>
              <a:buChar char="•"/>
            </a:pPr>
            <a:r>
              <a:rPr lang="en-US" sz="2800" dirty="0" err="1" smtClean="0"/>
              <a:t>közlekedési</a:t>
            </a:r>
            <a:r>
              <a:rPr lang="en-US" sz="2800" dirty="0" smtClean="0"/>
              <a:t> </a:t>
            </a:r>
            <a:r>
              <a:rPr lang="en-US" sz="2800" dirty="0" err="1" smtClean="0"/>
              <a:t>adatok</a:t>
            </a:r>
            <a:r>
              <a:rPr lang="en-US" sz="2800" dirty="0" smtClean="0"/>
              <a:t> </a:t>
            </a:r>
            <a:endParaRPr lang="en-US" sz="2800" dirty="0"/>
          </a:p>
          <a:p>
            <a:pPr marL="514350" indent="-514350">
              <a:buFont typeface="Arial" charset="0"/>
              <a:buChar char="•"/>
            </a:pPr>
            <a:r>
              <a:rPr lang="en-US" sz="2800" dirty="0" err="1" smtClean="0"/>
              <a:t>egészségügyi</a:t>
            </a:r>
            <a:r>
              <a:rPr lang="en-US" sz="2800" dirty="0" smtClean="0"/>
              <a:t> </a:t>
            </a:r>
            <a:r>
              <a:rPr lang="en-US" sz="2800" dirty="0" err="1" smtClean="0"/>
              <a:t>adatok</a:t>
            </a:r>
            <a:endParaRPr lang="en-US" sz="2800" dirty="0" smtClean="0"/>
          </a:p>
          <a:p>
            <a:pPr marL="514350" indent="-514350">
              <a:buFont typeface="Arial" charset="0"/>
              <a:buChar char="•"/>
            </a:pPr>
            <a:r>
              <a:rPr lang="en-US" sz="2800" dirty="0" err="1"/>
              <a:t>oktatási</a:t>
            </a:r>
            <a:r>
              <a:rPr lang="en-US" sz="2800" dirty="0"/>
              <a:t> </a:t>
            </a:r>
            <a:r>
              <a:rPr lang="en-US" sz="2800" dirty="0" err="1" smtClean="0"/>
              <a:t>adatok</a:t>
            </a:r>
            <a:endParaRPr lang="en-US" sz="2800" dirty="0"/>
          </a:p>
          <a:p>
            <a:pPr marL="514350" indent="-514350">
              <a:buFont typeface="Arial" charset="0"/>
              <a:buChar char="•"/>
            </a:pPr>
            <a:r>
              <a:rPr lang="en-US" sz="2800" dirty="0" err="1" smtClean="0"/>
              <a:t>népességi</a:t>
            </a:r>
            <a:r>
              <a:rPr lang="en-US" sz="2800" dirty="0" smtClean="0"/>
              <a:t> </a:t>
            </a:r>
            <a:r>
              <a:rPr lang="en-US" sz="2800" dirty="0" err="1"/>
              <a:t>adatok</a:t>
            </a:r>
            <a:r>
              <a:rPr lang="en-US" sz="2800" dirty="0"/>
              <a:t> </a:t>
            </a:r>
          </a:p>
          <a:p>
            <a:pPr marL="514350" indent="-514350">
              <a:buFont typeface="Arial" charset="0"/>
              <a:buChar char="•"/>
            </a:pPr>
            <a:r>
              <a:rPr lang="en-US" sz="2800" dirty="0" err="1" smtClean="0"/>
              <a:t>statisztikai</a:t>
            </a:r>
            <a:r>
              <a:rPr lang="en-US" sz="2800" dirty="0" smtClean="0"/>
              <a:t> </a:t>
            </a:r>
            <a:r>
              <a:rPr lang="en-US" sz="2800" dirty="0" err="1"/>
              <a:t>adatközlések</a:t>
            </a:r>
            <a:r>
              <a:rPr lang="en-US" sz="2800" dirty="0"/>
              <a:t> </a:t>
            </a:r>
          </a:p>
          <a:p>
            <a:pPr marL="514350" indent="-514350">
              <a:buFont typeface="Arial" charset="0"/>
              <a:buChar char="•"/>
            </a:pPr>
            <a:r>
              <a:rPr lang="en-US" sz="2800" dirty="0" err="1"/>
              <a:t>i</a:t>
            </a:r>
            <a:r>
              <a:rPr lang="en-US" sz="2800" dirty="0" err="1" smtClean="0"/>
              <a:t>ngatlan</a:t>
            </a:r>
            <a:r>
              <a:rPr lang="en-US" sz="2800" dirty="0" smtClean="0"/>
              <a:t> </a:t>
            </a:r>
            <a:r>
              <a:rPr lang="en-US" sz="2800" dirty="0" err="1" smtClean="0"/>
              <a:t>adatok</a:t>
            </a:r>
            <a:endParaRPr lang="en-US" sz="2800" dirty="0" smtClean="0"/>
          </a:p>
          <a:p>
            <a:pPr marL="514350" indent="-514350">
              <a:buFont typeface="Arial" charset="0"/>
              <a:buChar char="•"/>
            </a:pPr>
            <a:r>
              <a:rPr lang="en-US" sz="2800" dirty="0" err="1"/>
              <a:t>c</a:t>
            </a:r>
            <a:r>
              <a:rPr lang="en-US" sz="2800" dirty="0" err="1" smtClean="0"/>
              <a:t>ég</a:t>
            </a:r>
            <a:r>
              <a:rPr lang="en-US" sz="2800" dirty="0" smtClean="0"/>
              <a:t> </a:t>
            </a:r>
            <a:r>
              <a:rPr lang="en-US" sz="2800" dirty="0" err="1" smtClean="0"/>
              <a:t>adatok</a:t>
            </a:r>
            <a:r>
              <a:rPr lang="en-US" sz="2800" dirty="0" smtClean="0"/>
              <a:t> </a:t>
            </a:r>
            <a:endParaRPr lang="en-US" sz="2800" dirty="0"/>
          </a:p>
          <a:p>
            <a:pPr marL="514350" indent="-514350">
              <a:buFont typeface="Arial" charset="0"/>
              <a:buChar char="•"/>
            </a:pPr>
            <a:r>
              <a:rPr lang="en-US" sz="2800" dirty="0" err="1" smtClean="0"/>
              <a:t>jogszabályok</a:t>
            </a:r>
            <a:r>
              <a:rPr lang="en-US" sz="2800" dirty="0" smtClean="0"/>
              <a:t> </a:t>
            </a:r>
            <a:endParaRPr lang="en-US" sz="2800" dirty="0"/>
          </a:p>
          <a:p>
            <a:pPr marL="514350" indent="-514350">
              <a:buFont typeface="Arial" charset="0"/>
              <a:buChar char="•"/>
            </a:pPr>
            <a:r>
              <a:rPr lang="en-US" sz="2800" dirty="0" err="1" smtClean="0"/>
              <a:t>közbeszerzési</a:t>
            </a:r>
            <a:r>
              <a:rPr lang="en-US" sz="2800" dirty="0" smtClean="0"/>
              <a:t> </a:t>
            </a:r>
            <a:r>
              <a:rPr lang="en-US" sz="2800" dirty="0" err="1"/>
              <a:t>adatok</a:t>
            </a:r>
            <a:endParaRPr lang="en-US" sz="2800" dirty="0"/>
          </a:p>
          <a:p>
            <a:pPr lvl="0" algn="ctr"/>
            <a:endParaRPr lang="hu-HU" sz="3200" dirty="0"/>
          </a:p>
        </p:txBody>
      </p:sp>
    </p:spTree>
    <p:extLst>
      <p:ext uri="{BB962C8B-B14F-4D97-AF65-F5344CB8AC3E}">
        <p14:creationId xmlns:p14="http://schemas.microsoft.com/office/powerpoint/2010/main" val="74243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/>
          <p:cNvPicPr>
            <a:picLocks noChangeAspect="1"/>
          </p:cNvPicPr>
          <p:nvPr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058265"/>
            <a:ext cx="12192001" cy="5799735"/>
          </a:xfrm>
          <a:prstGeom prst="rect">
            <a:avLst/>
          </a:prstGeom>
        </p:spPr>
      </p:pic>
      <p:sp>
        <p:nvSpPr>
          <p:cNvPr id="2" name="Title 1"/>
          <p:cNvSpPr txBox="1">
            <a:spLocks/>
          </p:cNvSpPr>
          <p:nvPr/>
        </p:nvSpPr>
        <p:spPr>
          <a:xfrm>
            <a:off x="4343400" y="580292"/>
            <a:ext cx="7526214" cy="5943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SPECIÁLIS DIÁK</a:t>
            </a:r>
            <a:endParaRPr lang="en-US" dirty="0"/>
          </a:p>
        </p:txBody>
      </p:sp>
      <p:sp>
        <p:nvSpPr>
          <p:cNvPr id="5" name="Rectangle 3"/>
          <p:cNvSpPr/>
          <p:nvPr/>
        </p:nvSpPr>
        <p:spPr>
          <a:xfrm rot="16200000">
            <a:off x="5238641" y="-5868109"/>
            <a:ext cx="1719893" cy="12878492"/>
          </a:xfrm>
          <a:custGeom>
            <a:avLst/>
            <a:gdLst>
              <a:gd name="connsiteX0" fmla="*/ 0 w 6042212"/>
              <a:gd name="connsiteY0" fmla="*/ 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0 h 4446494"/>
              <a:gd name="connsiteX0" fmla="*/ 0 w 6042212"/>
              <a:gd name="connsiteY0" fmla="*/ 1793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17930 h 4446494"/>
              <a:gd name="connsiteX0" fmla="*/ 278902 w 6321114"/>
              <a:gd name="connsiteY0" fmla="*/ 17930 h 4446494"/>
              <a:gd name="connsiteX1" fmla="*/ 6321114 w 6321114"/>
              <a:gd name="connsiteY1" fmla="*/ 0 h 4446494"/>
              <a:gd name="connsiteX2" fmla="*/ 6321114 w 6321114"/>
              <a:gd name="connsiteY2" fmla="*/ 4446494 h 4446494"/>
              <a:gd name="connsiteX3" fmla="*/ 278902 w 6321114"/>
              <a:gd name="connsiteY3" fmla="*/ 4446494 h 4446494"/>
              <a:gd name="connsiteX4" fmla="*/ 278902 w 6321114"/>
              <a:gd name="connsiteY4" fmla="*/ 17930 h 4446494"/>
              <a:gd name="connsiteX0" fmla="*/ 293564 w 6335776"/>
              <a:gd name="connsiteY0" fmla="*/ 17930 h 4500282"/>
              <a:gd name="connsiteX1" fmla="*/ 6335776 w 6335776"/>
              <a:gd name="connsiteY1" fmla="*/ 0 h 4500282"/>
              <a:gd name="connsiteX2" fmla="*/ 6335776 w 6335776"/>
              <a:gd name="connsiteY2" fmla="*/ 4446494 h 4500282"/>
              <a:gd name="connsiteX3" fmla="*/ 239776 w 6335776"/>
              <a:gd name="connsiteY3" fmla="*/ 4500282 h 4500282"/>
              <a:gd name="connsiteX4" fmla="*/ 293564 w 6335776"/>
              <a:gd name="connsiteY4" fmla="*/ 17930 h 4500282"/>
              <a:gd name="connsiteX0" fmla="*/ 477596 w 6519808"/>
              <a:gd name="connsiteY0" fmla="*/ 17930 h 4500282"/>
              <a:gd name="connsiteX1" fmla="*/ 6519808 w 6519808"/>
              <a:gd name="connsiteY1" fmla="*/ 0 h 4500282"/>
              <a:gd name="connsiteX2" fmla="*/ 6519808 w 6519808"/>
              <a:gd name="connsiteY2" fmla="*/ 4446494 h 4500282"/>
              <a:gd name="connsiteX3" fmla="*/ 423808 w 6519808"/>
              <a:gd name="connsiteY3" fmla="*/ 4500282 h 4500282"/>
              <a:gd name="connsiteX4" fmla="*/ 477596 w 6519808"/>
              <a:gd name="connsiteY4" fmla="*/ 17930 h 4500282"/>
              <a:gd name="connsiteX0" fmla="*/ 401857 w 6444069"/>
              <a:gd name="connsiteY0" fmla="*/ 17930 h 4500282"/>
              <a:gd name="connsiteX1" fmla="*/ 6444069 w 6444069"/>
              <a:gd name="connsiteY1" fmla="*/ 0 h 4500282"/>
              <a:gd name="connsiteX2" fmla="*/ 6444069 w 6444069"/>
              <a:gd name="connsiteY2" fmla="*/ 4446494 h 4500282"/>
              <a:gd name="connsiteX3" fmla="*/ 348069 w 6444069"/>
              <a:gd name="connsiteY3" fmla="*/ 4500282 h 4500282"/>
              <a:gd name="connsiteX4" fmla="*/ 401857 w 6444069"/>
              <a:gd name="connsiteY4" fmla="*/ 17930 h 4500282"/>
              <a:gd name="connsiteX0" fmla="*/ 283039 w 6325251"/>
              <a:gd name="connsiteY0" fmla="*/ 17930 h 4500282"/>
              <a:gd name="connsiteX1" fmla="*/ 6325251 w 6325251"/>
              <a:gd name="connsiteY1" fmla="*/ 0 h 4500282"/>
              <a:gd name="connsiteX2" fmla="*/ 6325251 w 6325251"/>
              <a:gd name="connsiteY2" fmla="*/ 4446494 h 4500282"/>
              <a:gd name="connsiteX3" fmla="*/ 229251 w 6325251"/>
              <a:gd name="connsiteY3" fmla="*/ 4500282 h 4500282"/>
              <a:gd name="connsiteX4" fmla="*/ 283039 w 6325251"/>
              <a:gd name="connsiteY4" fmla="*/ 17930 h 4500282"/>
              <a:gd name="connsiteX0" fmla="*/ 255115 w 6297327"/>
              <a:gd name="connsiteY0" fmla="*/ 17930 h 4500282"/>
              <a:gd name="connsiteX1" fmla="*/ 6297327 w 6297327"/>
              <a:gd name="connsiteY1" fmla="*/ 0 h 4500282"/>
              <a:gd name="connsiteX2" fmla="*/ 6297327 w 6297327"/>
              <a:gd name="connsiteY2" fmla="*/ 4446494 h 4500282"/>
              <a:gd name="connsiteX3" fmla="*/ 201327 w 6297327"/>
              <a:gd name="connsiteY3" fmla="*/ 4500282 h 4500282"/>
              <a:gd name="connsiteX4" fmla="*/ 255115 w 6297327"/>
              <a:gd name="connsiteY4" fmla="*/ 17930 h 4500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7327" h="4500282">
                <a:moveTo>
                  <a:pt x="255115" y="17930"/>
                </a:moveTo>
                <a:lnTo>
                  <a:pt x="6297327" y="0"/>
                </a:lnTo>
                <a:lnTo>
                  <a:pt x="6297327" y="4446494"/>
                </a:lnTo>
                <a:lnTo>
                  <a:pt x="201327" y="4500282"/>
                </a:lnTo>
                <a:cubicBezTo>
                  <a:pt x="4636" y="3696446"/>
                  <a:pt x="-152470" y="1310345"/>
                  <a:pt x="255115" y="17930"/>
                </a:cubicBezTo>
                <a:close/>
              </a:path>
            </a:pathLst>
          </a:custGeom>
          <a:gradFill>
            <a:gsLst>
              <a:gs pos="0">
                <a:srgbClr val="3A559F"/>
              </a:gs>
              <a:gs pos="100000">
                <a:srgbClr val="41739F"/>
              </a:gs>
            </a:gsLst>
            <a:lin ang="16200000" scaled="0"/>
          </a:gradFill>
          <a:ln w="762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70331" y="1"/>
            <a:ext cx="9995646" cy="1332196"/>
          </a:xfrm>
          <a:prstGeom prst="rect">
            <a:avLst/>
          </a:prstGeom>
          <a:effectLst/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0">
                <a:solidFill>
                  <a:schemeClr val="bg1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hu-HU" dirty="0" smtClean="0"/>
              <a:t>Közadat vagyon </a:t>
            </a:r>
            <a:r>
              <a:rPr lang="mr-IN" dirty="0" smtClean="0"/>
              <a:t>–</a:t>
            </a:r>
            <a:r>
              <a:rPr lang="hu-HU" dirty="0" smtClean="0"/>
              <a:t> DJP 2.0</a:t>
            </a:r>
            <a:endParaRPr lang="en-US" dirty="0"/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221" y="324415"/>
            <a:ext cx="1432449" cy="630278"/>
          </a:xfrm>
          <a:prstGeom prst="rect">
            <a:avLst/>
          </a:prstGeom>
        </p:spPr>
      </p:pic>
      <p:cxnSp>
        <p:nvCxnSpPr>
          <p:cNvPr id="8" name="Straight Connector 8"/>
          <p:cNvCxnSpPr/>
          <p:nvPr/>
        </p:nvCxnSpPr>
        <p:spPr>
          <a:xfrm>
            <a:off x="10410095" y="158265"/>
            <a:ext cx="0" cy="90000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églalap 3"/>
          <p:cNvSpPr/>
          <p:nvPr/>
        </p:nvSpPr>
        <p:spPr>
          <a:xfrm>
            <a:off x="170331" y="1500213"/>
            <a:ext cx="11267164" cy="58169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>
              <a:buFont typeface="Arial" charset="0"/>
              <a:buChar char="•"/>
            </a:pPr>
            <a:endParaRPr lang="en-US" sz="2800" dirty="0" smtClean="0"/>
          </a:p>
          <a:p>
            <a:pPr marL="514350" indent="-514350">
              <a:buFont typeface="Arial" charset="0"/>
              <a:buChar char="•"/>
            </a:pPr>
            <a:endParaRPr lang="en-US" sz="2800" dirty="0"/>
          </a:p>
          <a:p>
            <a:pPr marL="514350" indent="-514350">
              <a:buFont typeface="Arial" charset="0"/>
              <a:buChar char="•"/>
            </a:pPr>
            <a:r>
              <a:rPr lang="en-US" sz="2800" dirty="0" smtClean="0"/>
              <a:t>NHIT </a:t>
            </a:r>
            <a:r>
              <a:rPr lang="en-US" sz="2800" dirty="0" err="1" smtClean="0"/>
              <a:t>fehér</a:t>
            </a:r>
            <a:r>
              <a:rPr lang="en-US" sz="2800" dirty="0" smtClean="0"/>
              <a:t> </a:t>
            </a:r>
            <a:r>
              <a:rPr lang="en-US" sz="2800" dirty="0" err="1" smtClean="0"/>
              <a:t>könyv</a:t>
            </a:r>
            <a:endParaRPr lang="en-US" sz="2800" dirty="0" smtClean="0"/>
          </a:p>
          <a:p>
            <a:pPr marL="514350" indent="-514350">
              <a:buFont typeface="Arial" charset="0"/>
              <a:buChar char="•"/>
            </a:pPr>
            <a:r>
              <a:rPr lang="en-US" sz="2800" dirty="0" err="1" smtClean="0"/>
              <a:t>Vagyonelemként</a:t>
            </a:r>
            <a:r>
              <a:rPr lang="en-US" sz="2800" dirty="0" smtClean="0"/>
              <a:t> </a:t>
            </a:r>
            <a:r>
              <a:rPr lang="en-US" sz="2800" dirty="0" err="1" smtClean="0"/>
              <a:t>kell</a:t>
            </a:r>
            <a:r>
              <a:rPr lang="en-US" sz="2800" dirty="0" smtClean="0"/>
              <a:t> </a:t>
            </a:r>
            <a:r>
              <a:rPr lang="en-US" sz="2800" dirty="0" err="1" smtClean="0"/>
              <a:t>kezelni</a:t>
            </a:r>
            <a:r>
              <a:rPr lang="en-US" sz="2800" dirty="0" smtClean="0"/>
              <a:t>, </a:t>
            </a:r>
            <a:r>
              <a:rPr lang="en-US" sz="2800" dirty="0" err="1" smtClean="0"/>
              <a:t>egyszerre</a:t>
            </a:r>
            <a:r>
              <a:rPr lang="en-US" sz="2800" dirty="0" smtClean="0"/>
              <a:t> </a:t>
            </a:r>
            <a:r>
              <a:rPr lang="en-US" sz="2800" dirty="0" err="1" smtClean="0"/>
              <a:t>óvni</a:t>
            </a:r>
            <a:r>
              <a:rPr lang="en-US" sz="2800" dirty="0" smtClean="0"/>
              <a:t> </a:t>
            </a:r>
            <a:r>
              <a:rPr lang="en-US" sz="2800" dirty="0" err="1" smtClean="0"/>
              <a:t>és</a:t>
            </a:r>
            <a:r>
              <a:rPr lang="en-US" sz="2800" dirty="0" smtClean="0"/>
              <a:t> </a:t>
            </a:r>
            <a:r>
              <a:rPr lang="en-US" sz="2800" dirty="0" err="1" smtClean="0"/>
              <a:t>hasznosítani</a:t>
            </a:r>
            <a:endParaRPr lang="en-US" sz="2800" dirty="0" smtClean="0"/>
          </a:p>
          <a:p>
            <a:pPr marL="514350" indent="-514350">
              <a:buFont typeface="Arial" charset="0"/>
              <a:buChar char="•"/>
            </a:pPr>
            <a:r>
              <a:rPr lang="en-US" sz="2800" dirty="0" err="1" smtClean="0"/>
              <a:t>Új</a:t>
            </a:r>
            <a:r>
              <a:rPr lang="en-US" sz="2800" dirty="0" smtClean="0"/>
              <a:t> </a:t>
            </a:r>
            <a:r>
              <a:rPr lang="en-US" sz="2800" dirty="0" err="1" smtClean="0"/>
              <a:t>dogmatikai</a:t>
            </a:r>
            <a:r>
              <a:rPr lang="en-US" sz="2800" dirty="0" smtClean="0"/>
              <a:t> </a:t>
            </a:r>
            <a:r>
              <a:rPr lang="en-US" sz="2800" dirty="0" err="1" smtClean="0"/>
              <a:t>keret</a:t>
            </a:r>
            <a:r>
              <a:rPr lang="en-US" sz="2800" dirty="0" smtClean="0"/>
              <a:t> </a:t>
            </a:r>
            <a:r>
              <a:rPr lang="en-US" sz="2800" dirty="0" err="1" smtClean="0"/>
              <a:t>és</a:t>
            </a:r>
            <a:r>
              <a:rPr lang="en-US" sz="2800" dirty="0" smtClean="0"/>
              <a:t> </a:t>
            </a:r>
            <a:r>
              <a:rPr lang="en-US" sz="2800" dirty="0" err="1" smtClean="0"/>
              <a:t>jogszabályok</a:t>
            </a:r>
            <a:endParaRPr lang="en-US" sz="2800" dirty="0"/>
          </a:p>
          <a:p>
            <a:pPr marL="514350" indent="-514350">
              <a:buFont typeface="Arial" charset="0"/>
              <a:buChar char="•"/>
            </a:pPr>
            <a:r>
              <a:rPr lang="en-US" sz="2800" dirty="0" err="1" smtClean="0"/>
              <a:t>Ágazati</a:t>
            </a:r>
            <a:r>
              <a:rPr lang="en-US" sz="2800" dirty="0" smtClean="0"/>
              <a:t> </a:t>
            </a:r>
            <a:r>
              <a:rPr lang="en-US" sz="2800" dirty="0" err="1" smtClean="0"/>
              <a:t>stratégiák</a:t>
            </a:r>
            <a:r>
              <a:rPr lang="en-US" sz="2800" dirty="0" smtClean="0"/>
              <a:t> </a:t>
            </a:r>
            <a:r>
              <a:rPr lang="en-US" sz="2800" dirty="0" err="1" smtClean="0"/>
              <a:t>része</a:t>
            </a:r>
            <a:r>
              <a:rPr lang="en-US" sz="2800" dirty="0" smtClean="0"/>
              <a:t>: DOS, DAS, DTS</a:t>
            </a:r>
          </a:p>
          <a:p>
            <a:pPr marL="514350" indent="-514350">
              <a:buFont typeface="Arial" charset="0"/>
              <a:buChar char="•"/>
            </a:pPr>
            <a:r>
              <a:rPr lang="en-US" sz="2800" dirty="0" err="1" smtClean="0"/>
              <a:t>Pilotok</a:t>
            </a:r>
            <a:r>
              <a:rPr lang="en-US" sz="2800" dirty="0" smtClean="0"/>
              <a:t>:</a:t>
            </a:r>
          </a:p>
          <a:p>
            <a:pPr marL="971550" lvl="1" indent="-514350">
              <a:buFont typeface="Arial" charset="0"/>
              <a:buChar char="•"/>
            </a:pPr>
            <a:r>
              <a:rPr lang="en-US" sz="2400" dirty="0" err="1" smtClean="0"/>
              <a:t>Mezőgazdasági</a:t>
            </a:r>
            <a:r>
              <a:rPr lang="en-US" sz="2400" dirty="0" smtClean="0"/>
              <a:t> </a:t>
            </a:r>
            <a:r>
              <a:rPr lang="en-US" sz="2400" dirty="0" err="1" smtClean="0"/>
              <a:t>Parcella</a:t>
            </a:r>
            <a:r>
              <a:rPr lang="en-US" sz="2400" dirty="0" smtClean="0"/>
              <a:t> </a:t>
            </a:r>
            <a:r>
              <a:rPr lang="en-US" sz="2400" dirty="0" err="1" smtClean="0"/>
              <a:t>Azonosító</a:t>
            </a:r>
            <a:r>
              <a:rPr lang="en-US" sz="2400" dirty="0" smtClean="0"/>
              <a:t> </a:t>
            </a:r>
            <a:r>
              <a:rPr lang="en-US" sz="2400" dirty="0" err="1" smtClean="0"/>
              <a:t>Rendszer</a:t>
            </a:r>
            <a:r>
              <a:rPr lang="en-US" sz="2400" dirty="0" smtClean="0"/>
              <a:t> (MEPÁR)</a:t>
            </a:r>
          </a:p>
          <a:p>
            <a:pPr marL="971550" lvl="1" indent="-514350">
              <a:buFont typeface="Arial" charset="0"/>
              <a:buChar char="•"/>
            </a:pPr>
            <a:r>
              <a:rPr lang="en-US" sz="2400" dirty="0" err="1" smtClean="0"/>
              <a:t>Meteorológiai</a:t>
            </a:r>
            <a:r>
              <a:rPr lang="en-US" sz="2400" dirty="0" smtClean="0"/>
              <a:t> </a:t>
            </a:r>
            <a:r>
              <a:rPr lang="en-US" sz="2400" dirty="0" err="1" smtClean="0"/>
              <a:t>adatok</a:t>
            </a:r>
            <a:endParaRPr lang="en-US" sz="2400" dirty="0" smtClean="0"/>
          </a:p>
          <a:p>
            <a:pPr marL="971550" lvl="1" indent="-514350">
              <a:buFont typeface="Arial" charset="0"/>
              <a:buChar char="•"/>
            </a:pPr>
            <a:r>
              <a:rPr lang="en-US" sz="2400" dirty="0" err="1" smtClean="0"/>
              <a:t>Nem</a:t>
            </a:r>
            <a:r>
              <a:rPr lang="en-US" sz="2400" dirty="0" smtClean="0"/>
              <a:t> </a:t>
            </a:r>
            <a:r>
              <a:rPr lang="en-US" sz="2400" dirty="0" err="1" smtClean="0"/>
              <a:t>lakás</a:t>
            </a:r>
            <a:r>
              <a:rPr lang="en-US" sz="2400" dirty="0" smtClean="0"/>
              <a:t> </a:t>
            </a:r>
            <a:r>
              <a:rPr lang="en-US" sz="2400" dirty="0" err="1" smtClean="0"/>
              <a:t>céljára</a:t>
            </a:r>
            <a:r>
              <a:rPr lang="en-US" sz="2400" dirty="0" smtClean="0"/>
              <a:t> </a:t>
            </a:r>
            <a:r>
              <a:rPr lang="en-US" sz="2400" dirty="0" err="1" smtClean="0"/>
              <a:t>szolgáló</a:t>
            </a:r>
            <a:r>
              <a:rPr lang="en-US" sz="2400" dirty="0" smtClean="0"/>
              <a:t> </a:t>
            </a:r>
            <a:r>
              <a:rPr lang="en-US" sz="2400" dirty="0" err="1" smtClean="0"/>
              <a:t>állami</a:t>
            </a:r>
            <a:r>
              <a:rPr lang="en-US" sz="2400" dirty="0" smtClean="0"/>
              <a:t> </a:t>
            </a:r>
            <a:r>
              <a:rPr lang="en-US" sz="2400" dirty="0" err="1" smtClean="0"/>
              <a:t>helyiségek</a:t>
            </a:r>
            <a:r>
              <a:rPr lang="en-US" sz="2400" dirty="0" smtClean="0"/>
              <a:t> </a:t>
            </a:r>
            <a:r>
              <a:rPr lang="en-US" sz="2400" dirty="0" err="1" smtClean="0"/>
              <a:t>hasznosítása</a:t>
            </a:r>
            <a:endParaRPr lang="en-US" sz="2400" dirty="0" smtClean="0"/>
          </a:p>
          <a:p>
            <a:pPr marL="971550" lvl="1" indent="-514350">
              <a:buFont typeface="Arial" charset="0"/>
              <a:buChar char="•"/>
            </a:pPr>
            <a:r>
              <a:rPr lang="en-US" sz="2400" dirty="0" err="1" smtClean="0"/>
              <a:t>Élelmiszer</a:t>
            </a:r>
            <a:r>
              <a:rPr lang="en-US" sz="2400" dirty="0" smtClean="0"/>
              <a:t> </a:t>
            </a:r>
            <a:r>
              <a:rPr lang="en-US" sz="2400" dirty="0" err="1" smtClean="0"/>
              <a:t>biztonság</a:t>
            </a:r>
            <a:r>
              <a:rPr lang="en-US" sz="2400" dirty="0" smtClean="0"/>
              <a:t>, </a:t>
            </a:r>
            <a:r>
              <a:rPr lang="en-US" sz="2400" dirty="0" err="1" smtClean="0"/>
              <a:t>népegészségügyi</a:t>
            </a:r>
            <a:r>
              <a:rPr lang="en-US" sz="2400" dirty="0" smtClean="0"/>
              <a:t> </a:t>
            </a:r>
            <a:r>
              <a:rPr lang="en-US" sz="2400" dirty="0" err="1" smtClean="0"/>
              <a:t>adatok</a:t>
            </a:r>
            <a:endParaRPr lang="en-US" sz="2400" dirty="0" smtClean="0"/>
          </a:p>
          <a:p>
            <a:pPr marL="971550" lvl="1" indent="-514350">
              <a:buFont typeface="Arial" charset="0"/>
              <a:buChar char="•"/>
            </a:pPr>
            <a:r>
              <a:rPr lang="en-US" sz="2400" dirty="0" err="1" smtClean="0"/>
              <a:t>Egykapus</a:t>
            </a:r>
            <a:r>
              <a:rPr lang="en-US" sz="2400" dirty="0" smtClean="0"/>
              <a:t> </a:t>
            </a:r>
            <a:r>
              <a:rPr lang="en-US" sz="2400" dirty="0" err="1" smtClean="0"/>
              <a:t>közadat</a:t>
            </a:r>
            <a:r>
              <a:rPr lang="en-US" sz="2400" dirty="0" smtClean="0"/>
              <a:t> </a:t>
            </a:r>
            <a:r>
              <a:rPr lang="en-US" sz="2400" dirty="0" err="1" smtClean="0"/>
              <a:t>portál</a:t>
            </a:r>
            <a:endParaRPr lang="en-US" sz="2400" dirty="0" smtClean="0"/>
          </a:p>
          <a:p>
            <a:pPr marL="971550" lvl="1" indent="-514350">
              <a:buFont typeface="Arial" charset="0"/>
              <a:buChar char="•"/>
            </a:pPr>
            <a:r>
              <a:rPr lang="en-US" sz="2400" dirty="0" err="1" smtClean="0"/>
              <a:t>Közszolgálati</a:t>
            </a:r>
            <a:r>
              <a:rPr lang="en-US" sz="2400" dirty="0" smtClean="0"/>
              <a:t> </a:t>
            </a:r>
            <a:r>
              <a:rPr lang="en-US" sz="2400" dirty="0" err="1" smtClean="0"/>
              <a:t>képzés</a:t>
            </a:r>
            <a:r>
              <a:rPr lang="en-US" sz="2400" dirty="0" smtClean="0"/>
              <a:t> </a:t>
            </a:r>
            <a:r>
              <a:rPr lang="en-US" sz="2400" dirty="0" err="1" smtClean="0"/>
              <a:t>fejlesztés</a:t>
            </a:r>
            <a:endParaRPr lang="en-US" sz="2400" dirty="0"/>
          </a:p>
          <a:p>
            <a:pPr lvl="0" algn="ctr"/>
            <a:endParaRPr lang="hu-HU" sz="3200" dirty="0"/>
          </a:p>
        </p:txBody>
      </p:sp>
    </p:spTree>
    <p:extLst>
      <p:ext uri="{BB962C8B-B14F-4D97-AF65-F5344CB8AC3E}">
        <p14:creationId xmlns:p14="http://schemas.microsoft.com/office/powerpoint/2010/main" val="633866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ép 8"/>
          <p:cNvPicPr>
            <a:picLocks noChangeAspect="1"/>
          </p:cNvPicPr>
          <p:nvPr/>
        </p:nvPicPr>
        <p:blipFill rotWithShape="1">
          <a:blip r:embed="rId3" cstate="email">
            <a:alphaModFix amt="20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851" b="15378"/>
          <a:stretch/>
        </p:blipFill>
        <p:spPr>
          <a:xfrm>
            <a:off x="0" y="-363138"/>
            <a:ext cx="12260213" cy="7221138"/>
          </a:xfrm>
          <a:prstGeom prst="rect">
            <a:avLst/>
          </a:prstGeom>
        </p:spPr>
      </p:pic>
      <p:sp>
        <p:nvSpPr>
          <p:cNvPr id="2" name="Title 1"/>
          <p:cNvSpPr txBox="1">
            <a:spLocks/>
          </p:cNvSpPr>
          <p:nvPr/>
        </p:nvSpPr>
        <p:spPr>
          <a:xfrm>
            <a:off x="4343400" y="580292"/>
            <a:ext cx="7526214" cy="5943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SPECIÁLIS DIÁK</a:t>
            </a:r>
            <a:endParaRPr lang="en-US" dirty="0"/>
          </a:p>
        </p:txBody>
      </p:sp>
      <p:sp>
        <p:nvSpPr>
          <p:cNvPr id="5" name="Rectangle 3"/>
          <p:cNvSpPr/>
          <p:nvPr/>
        </p:nvSpPr>
        <p:spPr>
          <a:xfrm rot="16200000">
            <a:off x="5238641" y="-5868109"/>
            <a:ext cx="1719893" cy="12878492"/>
          </a:xfrm>
          <a:custGeom>
            <a:avLst/>
            <a:gdLst>
              <a:gd name="connsiteX0" fmla="*/ 0 w 6042212"/>
              <a:gd name="connsiteY0" fmla="*/ 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0 h 4446494"/>
              <a:gd name="connsiteX0" fmla="*/ 0 w 6042212"/>
              <a:gd name="connsiteY0" fmla="*/ 1793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17930 h 4446494"/>
              <a:gd name="connsiteX0" fmla="*/ 278902 w 6321114"/>
              <a:gd name="connsiteY0" fmla="*/ 17930 h 4446494"/>
              <a:gd name="connsiteX1" fmla="*/ 6321114 w 6321114"/>
              <a:gd name="connsiteY1" fmla="*/ 0 h 4446494"/>
              <a:gd name="connsiteX2" fmla="*/ 6321114 w 6321114"/>
              <a:gd name="connsiteY2" fmla="*/ 4446494 h 4446494"/>
              <a:gd name="connsiteX3" fmla="*/ 278902 w 6321114"/>
              <a:gd name="connsiteY3" fmla="*/ 4446494 h 4446494"/>
              <a:gd name="connsiteX4" fmla="*/ 278902 w 6321114"/>
              <a:gd name="connsiteY4" fmla="*/ 17930 h 4446494"/>
              <a:gd name="connsiteX0" fmla="*/ 293564 w 6335776"/>
              <a:gd name="connsiteY0" fmla="*/ 17930 h 4500282"/>
              <a:gd name="connsiteX1" fmla="*/ 6335776 w 6335776"/>
              <a:gd name="connsiteY1" fmla="*/ 0 h 4500282"/>
              <a:gd name="connsiteX2" fmla="*/ 6335776 w 6335776"/>
              <a:gd name="connsiteY2" fmla="*/ 4446494 h 4500282"/>
              <a:gd name="connsiteX3" fmla="*/ 239776 w 6335776"/>
              <a:gd name="connsiteY3" fmla="*/ 4500282 h 4500282"/>
              <a:gd name="connsiteX4" fmla="*/ 293564 w 6335776"/>
              <a:gd name="connsiteY4" fmla="*/ 17930 h 4500282"/>
              <a:gd name="connsiteX0" fmla="*/ 477596 w 6519808"/>
              <a:gd name="connsiteY0" fmla="*/ 17930 h 4500282"/>
              <a:gd name="connsiteX1" fmla="*/ 6519808 w 6519808"/>
              <a:gd name="connsiteY1" fmla="*/ 0 h 4500282"/>
              <a:gd name="connsiteX2" fmla="*/ 6519808 w 6519808"/>
              <a:gd name="connsiteY2" fmla="*/ 4446494 h 4500282"/>
              <a:gd name="connsiteX3" fmla="*/ 423808 w 6519808"/>
              <a:gd name="connsiteY3" fmla="*/ 4500282 h 4500282"/>
              <a:gd name="connsiteX4" fmla="*/ 477596 w 6519808"/>
              <a:gd name="connsiteY4" fmla="*/ 17930 h 4500282"/>
              <a:gd name="connsiteX0" fmla="*/ 401857 w 6444069"/>
              <a:gd name="connsiteY0" fmla="*/ 17930 h 4500282"/>
              <a:gd name="connsiteX1" fmla="*/ 6444069 w 6444069"/>
              <a:gd name="connsiteY1" fmla="*/ 0 h 4500282"/>
              <a:gd name="connsiteX2" fmla="*/ 6444069 w 6444069"/>
              <a:gd name="connsiteY2" fmla="*/ 4446494 h 4500282"/>
              <a:gd name="connsiteX3" fmla="*/ 348069 w 6444069"/>
              <a:gd name="connsiteY3" fmla="*/ 4500282 h 4500282"/>
              <a:gd name="connsiteX4" fmla="*/ 401857 w 6444069"/>
              <a:gd name="connsiteY4" fmla="*/ 17930 h 4500282"/>
              <a:gd name="connsiteX0" fmla="*/ 283039 w 6325251"/>
              <a:gd name="connsiteY0" fmla="*/ 17930 h 4500282"/>
              <a:gd name="connsiteX1" fmla="*/ 6325251 w 6325251"/>
              <a:gd name="connsiteY1" fmla="*/ 0 h 4500282"/>
              <a:gd name="connsiteX2" fmla="*/ 6325251 w 6325251"/>
              <a:gd name="connsiteY2" fmla="*/ 4446494 h 4500282"/>
              <a:gd name="connsiteX3" fmla="*/ 229251 w 6325251"/>
              <a:gd name="connsiteY3" fmla="*/ 4500282 h 4500282"/>
              <a:gd name="connsiteX4" fmla="*/ 283039 w 6325251"/>
              <a:gd name="connsiteY4" fmla="*/ 17930 h 4500282"/>
              <a:gd name="connsiteX0" fmla="*/ 255115 w 6297327"/>
              <a:gd name="connsiteY0" fmla="*/ 17930 h 4500282"/>
              <a:gd name="connsiteX1" fmla="*/ 6297327 w 6297327"/>
              <a:gd name="connsiteY1" fmla="*/ 0 h 4500282"/>
              <a:gd name="connsiteX2" fmla="*/ 6297327 w 6297327"/>
              <a:gd name="connsiteY2" fmla="*/ 4446494 h 4500282"/>
              <a:gd name="connsiteX3" fmla="*/ 201327 w 6297327"/>
              <a:gd name="connsiteY3" fmla="*/ 4500282 h 4500282"/>
              <a:gd name="connsiteX4" fmla="*/ 255115 w 6297327"/>
              <a:gd name="connsiteY4" fmla="*/ 17930 h 4500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7327" h="4500282">
                <a:moveTo>
                  <a:pt x="255115" y="17930"/>
                </a:moveTo>
                <a:lnTo>
                  <a:pt x="6297327" y="0"/>
                </a:lnTo>
                <a:lnTo>
                  <a:pt x="6297327" y="4446494"/>
                </a:lnTo>
                <a:lnTo>
                  <a:pt x="201327" y="4500282"/>
                </a:lnTo>
                <a:cubicBezTo>
                  <a:pt x="4636" y="3696446"/>
                  <a:pt x="-152470" y="1310345"/>
                  <a:pt x="255115" y="17930"/>
                </a:cubicBezTo>
                <a:close/>
              </a:path>
            </a:pathLst>
          </a:custGeom>
          <a:gradFill>
            <a:gsLst>
              <a:gs pos="0">
                <a:srgbClr val="3A559F"/>
              </a:gs>
              <a:gs pos="100000">
                <a:srgbClr val="41739F"/>
              </a:gs>
            </a:gsLst>
            <a:lin ang="16200000" scaled="0"/>
          </a:gradFill>
          <a:ln w="762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70331" y="1"/>
            <a:ext cx="9995646" cy="1332196"/>
          </a:xfrm>
          <a:prstGeom prst="rect">
            <a:avLst/>
          </a:prstGeom>
          <a:effectLst/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0">
                <a:solidFill>
                  <a:schemeClr val="bg1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hu-HU" dirty="0" smtClean="0"/>
              <a:t>Tanulság</a:t>
            </a:r>
            <a:endParaRPr lang="en-US" dirty="0"/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221" y="324415"/>
            <a:ext cx="1432449" cy="630278"/>
          </a:xfrm>
          <a:prstGeom prst="rect">
            <a:avLst/>
          </a:prstGeom>
        </p:spPr>
      </p:pic>
      <p:cxnSp>
        <p:nvCxnSpPr>
          <p:cNvPr id="8" name="Straight Connector 8"/>
          <p:cNvCxnSpPr/>
          <p:nvPr/>
        </p:nvCxnSpPr>
        <p:spPr>
          <a:xfrm>
            <a:off x="10410095" y="158265"/>
            <a:ext cx="0" cy="90000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églalap 140"/>
          <p:cNvSpPr/>
          <p:nvPr/>
        </p:nvSpPr>
        <p:spPr>
          <a:xfrm>
            <a:off x="463688" y="1912459"/>
            <a:ext cx="9946407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hu-HU" sz="2400" b="1" dirty="0" smtClean="0">
                <a:solidFill>
                  <a:schemeClr val="accent1"/>
                </a:solidFill>
              </a:rPr>
              <a:t>Az adatvezérelt gondolkodás ma még versenyelőny, idővel a túlélés eszköze </a:t>
            </a:r>
            <a:r>
              <a:rPr lang="hu-HU" sz="2400" b="1" dirty="0" smtClean="0">
                <a:solidFill>
                  <a:schemeClr val="accent1"/>
                </a:solidFill>
              </a:rPr>
              <a:t>lesz</a:t>
            </a:r>
          </a:p>
          <a:p>
            <a:pPr marL="342900" indent="-342900">
              <a:buFont typeface="Arial"/>
              <a:buChar char="•"/>
            </a:pPr>
            <a:r>
              <a:rPr lang="hu-HU" sz="2400" b="1" dirty="0" smtClean="0">
                <a:solidFill>
                  <a:schemeClr val="accent1"/>
                </a:solidFill>
              </a:rPr>
              <a:t>Ma </a:t>
            </a:r>
            <a:r>
              <a:rPr lang="hu-HU" sz="2400" b="1" dirty="0" smtClean="0">
                <a:solidFill>
                  <a:schemeClr val="accent1"/>
                </a:solidFill>
              </a:rPr>
              <a:t>már az adat eldobásának a kockázata nagyobb mint a tárolás költsége </a:t>
            </a:r>
            <a:r>
              <a:rPr lang="mr-IN" sz="2400" b="1" dirty="0" smtClean="0">
                <a:solidFill>
                  <a:schemeClr val="accent1"/>
                </a:solidFill>
              </a:rPr>
              <a:t>–</a:t>
            </a:r>
            <a:r>
              <a:rPr lang="hu-HU" sz="2400" b="1" dirty="0" smtClean="0">
                <a:solidFill>
                  <a:schemeClr val="accent1"/>
                </a:solidFill>
              </a:rPr>
              <a:t> </a:t>
            </a:r>
            <a:r>
              <a:rPr lang="hu-HU" sz="2400" b="1" dirty="0" err="1" smtClean="0">
                <a:solidFill>
                  <a:schemeClr val="accent1"/>
                </a:solidFill>
              </a:rPr>
              <a:t>gyűjtsünk</a:t>
            </a:r>
            <a:r>
              <a:rPr lang="hu-HU" sz="2400" b="1" dirty="0" smtClean="0">
                <a:solidFill>
                  <a:schemeClr val="accent1"/>
                </a:solidFill>
              </a:rPr>
              <a:t> mindent!</a:t>
            </a:r>
          </a:p>
          <a:p>
            <a:pPr marL="342900" indent="-342900">
              <a:buFont typeface="Arial"/>
              <a:buChar char="•"/>
            </a:pPr>
            <a:r>
              <a:rPr lang="hu-HU" sz="2400" b="1" dirty="0" smtClean="0">
                <a:solidFill>
                  <a:schemeClr val="accent1"/>
                </a:solidFill>
              </a:rPr>
              <a:t>Az adatvagyon értékes, lehet, hogy egy napon a cég legértékesebb vagyoneleme lesz. (TESLA)</a:t>
            </a:r>
          </a:p>
          <a:p>
            <a:pPr marL="342900" indent="-342900">
              <a:buFont typeface="Arial"/>
              <a:buChar char="•"/>
            </a:pPr>
            <a:r>
              <a:rPr lang="hu-HU" sz="2400" b="1" dirty="0" smtClean="0">
                <a:solidFill>
                  <a:schemeClr val="accent1"/>
                </a:solidFill>
              </a:rPr>
              <a:t>Nem kell megérteni minden esetben az összefüggéseket, elég elfogadni és </a:t>
            </a:r>
            <a:r>
              <a:rPr lang="hu-HU" sz="2400" b="1" dirty="0" smtClean="0">
                <a:solidFill>
                  <a:schemeClr val="accent1"/>
                </a:solidFill>
              </a:rPr>
              <a:t>használni</a:t>
            </a:r>
          </a:p>
          <a:p>
            <a:pPr marL="342900" indent="-342900">
              <a:buFont typeface="Arial"/>
              <a:buChar char="•"/>
            </a:pPr>
            <a:r>
              <a:rPr lang="hu-HU" sz="2400" b="1" dirty="0">
                <a:solidFill>
                  <a:schemeClr val="accent1"/>
                </a:solidFill>
              </a:rPr>
              <a:t>DJP 2.0 Közadat vagyon </a:t>
            </a:r>
            <a:r>
              <a:rPr lang="hu-HU" sz="2400" b="1" dirty="0" smtClean="0">
                <a:solidFill>
                  <a:schemeClr val="accent1"/>
                </a:solidFill>
              </a:rPr>
              <a:t>kezelés</a:t>
            </a:r>
            <a:endParaRPr lang="hu-HU" sz="2400" b="1" dirty="0" smtClean="0">
              <a:solidFill>
                <a:schemeClr val="accent1"/>
              </a:solidFill>
            </a:endParaRPr>
          </a:p>
          <a:p>
            <a:endParaRPr lang="hu-HU" sz="2400" dirty="0" smtClean="0">
              <a:solidFill>
                <a:schemeClr val="accent1"/>
              </a:solidFill>
            </a:endParaRPr>
          </a:p>
          <a:p>
            <a:endParaRPr lang="hu-HU" sz="2400" dirty="0">
              <a:solidFill>
                <a:schemeClr val="accent1"/>
              </a:solidFill>
            </a:endParaRPr>
          </a:p>
          <a:p>
            <a:endParaRPr lang="hu-HU" sz="2400" dirty="0" smtClean="0">
              <a:solidFill>
                <a:schemeClr val="accent1"/>
              </a:solidFill>
            </a:endParaRPr>
          </a:p>
        </p:txBody>
      </p:sp>
      <p:pic>
        <p:nvPicPr>
          <p:cNvPr id="3" name="Picture 2" descr="Képernyőfotó 2017-10-10 - 7.23.53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3066" y="3541059"/>
            <a:ext cx="1993000" cy="2982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187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 smtClean="0"/>
              <a:t>Köszönöm</a:t>
            </a:r>
            <a:r>
              <a:rPr lang="en-US" dirty="0" smtClean="0"/>
              <a:t> a </a:t>
            </a:r>
            <a:r>
              <a:rPr lang="en-US" dirty="0" err="1" smtClean="0"/>
              <a:t>figyelmet</a:t>
            </a:r>
            <a:r>
              <a:rPr lang="en-US" dirty="0" smtClean="0"/>
              <a:t>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072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ép 8"/>
          <p:cNvPicPr>
            <a:picLocks noChangeAspect="1"/>
          </p:cNvPicPr>
          <p:nvPr/>
        </p:nvPicPr>
        <p:blipFill rotWithShape="1">
          <a:blip r:embed="rId2" cstate="email">
            <a:alphaModFix amt="20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851" b="15378"/>
          <a:stretch/>
        </p:blipFill>
        <p:spPr>
          <a:xfrm>
            <a:off x="0" y="-363138"/>
            <a:ext cx="12260213" cy="7221138"/>
          </a:xfrm>
          <a:prstGeom prst="rect">
            <a:avLst/>
          </a:prstGeom>
        </p:spPr>
      </p:pic>
      <p:sp>
        <p:nvSpPr>
          <p:cNvPr id="2" name="Title 1"/>
          <p:cNvSpPr txBox="1">
            <a:spLocks/>
          </p:cNvSpPr>
          <p:nvPr/>
        </p:nvSpPr>
        <p:spPr>
          <a:xfrm>
            <a:off x="4343400" y="580292"/>
            <a:ext cx="7526214" cy="5943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SPECIÁLIS DIÁK</a:t>
            </a:r>
            <a:endParaRPr lang="en-US" dirty="0"/>
          </a:p>
        </p:txBody>
      </p:sp>
      <p:sp>
        <p:nvSpPr>
          <p:cNvPr id="5" name="Rectangle 3"/>
          <p:cNvSpPr/>
          <p:nvPr/>
        </p:nvSpPr>
        <p:spPr>
          <a:xfrm rot="16200000">
            <a:off x="5238641" y="-5868109"/>
            <a:ext cx="1719893" cy="12878492"/>
          </a:xfrm>
          <a:custGeom>
            <a:avLst/>
            <a:gdLst>
              <a:gd name="connsiteX0" fmla="*/ 0 w 6042212"/>
              <a:gd name="connsiteY0" fmla="*/ 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0 h 4446494"/>
              <a:gd name="connsiteX0" fmla="*/ 0 w 6042212"/>
              <a:gd name="connsiteY0" fmla="*/ 1793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17930 h 4446494"/>
              <a:gd name="connsiteX0" fmla="*/ 278902 w 6321114"/>
              <a:gd name="connsiteY0" fmla="*/ 17930 h 4446494"/>
              <a:gd name="connsiteX1" fmla="*/ 6321114 w 6321114"/>
              <a:gd name="connsiteY1" fmla="*/ 0 h 4446494"/>
              <a:gd name="connsiteX2" fmla="*/ 6321114 w 6321114"/>
              <a:gd name="connsiteY2" fmla="*/ 4446494 h 4446494"/>
              <a:gd name="connsiteX3" fmla="*/ 278902 w 6321114"/>
              <a:gd name="connsiteY3" fmla="*/ 4446494 h 4446494"/>
              <a:gd name="connsiteX4" fmla="*/ 278902 w 6321114"/>
              <a:gd name="connsiteY4" fmla="*/ 17930 h 4446494"/>
              <a:gd name="connsiteX0" fmla="*/ 293564 w 6335776"/>
              <a:gd name="connsiteY0" fmla="*/ 17930 h 4500282"/>
              <a:gd name="connsiteX1" fmla="*/ 6335776 w 6335776"/>
              <a:gd name="connsiteY1" fmla="*/ 0 h 4500282"/>
              <a:gd name="connsiteX2" fmla="*/ 6335776 w 6335776"/>
              <a:gd name="connsiteY2" fmla="*/ 4446494 h 4500282"/>
              <a:gd name="connsiteX3" fmla="*/ 239776 w 6335776"/>
              <a:gd name="connsiteY3" fmla="*/ 4500282 h 4500282"/>
              <a:gd name="connsiteX4" fmla="*/ 293564 w 6335776"/>
              <a:gd name="connsiteY4" fmla="*/ 17930 h 4500282"/>
              <a:gd name="connsiteX0" fmla="*/ 477596 w 6519808"/>
              <a:gd name="connsiteY0" fmla="*/ 17930 h 4500282"/>
              <a:gd name="connsiteX1" fmla="*/ 6519808 w 6519808"/>
              <a:gd name="connsiteY1" fmla="*/ 0 h 4500282"/>
              <a:gd name="connsiteX2" fmla="*/ 6519808 w 6519808"/>
              <a:gd name="connsiteY2" fmla="*/ 4446494 h 4500282"/>
              <a:gd name="connsiteX3" fmla="*/ 423808 w 6519808"/>
              <a:gd name="connsiteY3" fmla="*/ 4500282 h 4500282"/>
              <a:gd name="connsiteX4" fmla="*/ 477596 w 6519808"/>
              <a:gd name="connsiteY4" fmla="*/ 17930 h 4500282"/>
              <a:gd name="connsiteX0" fmla="*/ 401857 w 6444069"/>
              <a:gd name="connsiteY0" fmla="*/ 17930 h 4500282"/>
              <a:gd name="connsiteX1" fmla="*/ 6444069 w 6444069"/>
              <a:gd name="connsiteY1" fmla="*/ 0 h 4500282"/>
              <a:gd name="connsiteX2" fmla="*/ 6444069 w 6444069"/>
              <a:gd name="connsiteY2" fmla="*/ 4446494 h 4500282"/>
              <a:gd name="connsiteX3" fmla="*/ 348069 w 6444069"/>
              <a:gd name="connsiteY3" fmla="*/ 4500282 h 4500282"/>
              <a:gd name="connsiteX4" fmla="*/ 401857 w 6444069"/>
              <a:gd name="connsiteY4" fmla="*/ 17930 h 4500282"/>
              <a:gd name="connsiteX0" fmla="*/ 283039 w 6325251"/>
              <a:gd name="connsiteY0" fmla="*/ 17930 h 4500282"/>
              <a:gd name="connsiteX1" fmla="*/ 6325251 w 6325251"/>
              <a:gd name="connsiteY1" fmla="*/ 0 h 4500282"/>
              <a:gd name="connsiteX2" fmla="*/ 6325251 w 6325251"/>
              <a:gd name="connsiteY2" fmla="*/ 4446494 h 4500282"/>
              <a:gd name="connsiteX3" fmla="*/ 229251 w 6325251"/>
              <a:gd name="connsiteY3" fmla="*/ 4500282 h 4500282"/>
              <a:gd name="connsiteX4" fmla="*/ 283039 w 6325251"/>
              <a:gd name="connsiteY4" fmla="*/ 17930 h 4500282"/>
              <a:gd name="connsiteX0" fmla="*/ 255115 w 6297327"/>
              <a:gd name="connsiteY0" fmla="*/ 17930 h 4500282"/>
              <a:gd name="connsiteX1" fmla="*/ 6297327 w 6297327"/>
              <a:gd name="connsiteY1" fmla="*/ 0 h 4500282"/>
              <a:gd name="connsiteX2" fmla="*/ 6297327 w 6297327"/>
              <a:gd name="connsiteY2" fmla="*/ 4446494 h 4500282"/>
              <a:gd name="connsiteX3" fmla="*/ 201327 w 6297327"/>
              <a:gd name="connsiteY3" fmla="*/ 4500282 h 4500282"/>
              <a:gd name="connsiteX4" fmla="*/ 255115 w 6297327"/>
              <a:gd name="connsiteY4" fmla="*/ 17930 h 4500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7327" h="4500282">
                <a:moveTo>
                  <a:pt x="255115" y="17930"/>
                </a:moveTo>
                <a:lnTo>
                  <a:pt x="6297327" y="0"/>
                </a:lnTo>
                <a:lnTo>
                  <a:pt x="6297327" y="4446494"/>
                </a:lnTo>
                <a:lnTo>
                  <a:pt x="201327" y="4500282"/>
                </a:lnTo>
                <a:cubicBezTo>
                  <a:pt x="4636" y="3696446"/>
                  <a:pt x="-152470" y="1310345"/>
                  <a:pt x="255115" y="17930"/>
                </a:cubicBezTo>
                <a:close/>
              </a:path>
            </a:pathLst>
          </a:custGeom>
          <a:gradFill>
            <a:gsLst>
              <a:gs pos="0">
                <a:srgbClr val="3A559F"/>
              </a:gs>
              <a:gs pos="100000">
                <a:srgbClr val="41739F"/>
              </a:gs>
            </a:gsLst>
            <a:lin ang="16200000" scaled="0"/>
          </a:gradFill>
          <a:ln w="762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70331" y="1"/>
            <a:ext cx="9995646" cy="1332196"/>
          </a:xfrm>
          <a:prstGeom prst="rect">
            <a:avLst/>
          </a:prstGeom>
          <a:effectLst/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0">
                <a:solidFill>
                  <a:schemeClr val="bg1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hu-HU" dirty="0"/>
              <a:t>A digitális gazdaság jelentősége</a:t>
            </a:r>
            <a:endParaRPr lang="en-US" dirty="0"/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221" y="324415"/>
            <a:ext cx="1432449" cy="630278"/>
          </a:xfrm>
          <a:prstGeom prst="rect">
            <a:avLst/>
          </a:prstGeom>
        </p:spPr>
      </p:pic>
      <p:cxnSp>
        <p:nvCxnSpPr>
          <p:cNvPr id="8" name="Straight Connector 8"/>
          <p:cNvCxnSpPr/>
          <p:nvPr/>
        </p:nvCxnSpPr>
        <p:spPr>
          <a:xfrm>
            <a:off x="10410095" y="158265"/>
            <a:ext cx="0" cy="90000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rtalom helye 3"/>
          <p:cNvGraphicFramePr>
            <a:graphicFrameLocks/>
          </p:cNvGraphicFramePr>
          <p:nvPr>
            <p:extLst/>
          </p:nvPr>
        </p:nvGraphicFramePr>
        <p:xfrm>
          <a:off x="170331" y="1874565"/>
          <a:ext cx="11772453" cy="354410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92415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92415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92415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329038">
                <a:tc>
                  <a:txBody>
                    <a:bodyPr/>
                    <a:lstStyle/>
                    <a:p>
                      <a:pPr algn="ctr"/>
                      <a:endParaRPr lang="hu-HU" sz="240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400" dirty="0"/>
                        <a:t>IKT (elektronika,</a:t>
                      </a:r>
                      <a:r>
                        <a:rPr lang="hu-HU" sz="2400" baseline="0" dirty="0"/>
                        <a:t> távközlés, informatika)</a:t>
                      </a:r>
                      <a:endParaRPr lang="hu-HU" sz="2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84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400" dirty="0"/>
                        <a:t>Digitális gazdaság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84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38355">
                <a:tc>
                  <a:txBody>
                    <a:bodyPr/>
                    <a:lstStyle/>
                    <a:p>
                      <a:pPr algn="ctr"/>
                      <a:r>
                        <a:rPr lang="hu-HU" sz="2400" dirty="0">
                          <a:solidFill>
                            <a:schemeClr val="bg1"/>
                          </a:solidFill>
                        </a:rPr>
                        <a:t>GDP arán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84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400" dirty="0"/>
                        <a:t>14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400" dirty="0"/>
                        <a:t>2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38355">
                <a:tc>
                  <a:txBody>
                    <a:bodyPr/>
                    <a:lstStyle/>
                    <a:p>
                      <a:pPr algn="ctr"/>
                      <a:r>
                        <a:rPr lang="hu-HU" sz="2400" dirty="0">
                          <a:solidFill>
                            <a:schemeClr val="bg1"/>
                          </a:solidFill>
                        </a:rPr>
                        <a:t>Foglalkoztatá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396D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400" dirty="0"/>
                        <a:t>11,5%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400" dirty="0"/>
                        <a:t>15% - kb. 400,000 embe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38355">
                <a:tc>
                  <a:txBody>
                    <a:bodyPr/>
                    <a:lstStyle/>
                    <a:p>
                      <a:pPr algn="ctr"/>
                      <a:r>
                        <a:rPr lang="hu-HU" sz="2400" dirty="0">
                          <a:solidFill>
                            <a:schemeClr val="bg1"/>
                          </a:solidFill>
                        </a:rPr>
                        <a:t>Export arán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84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400" dirty="0"/>
                        <a:t>8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2400" dirty="0"/>
                        <a:t>n/a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1" name="Szövegdoboz 10"/>
          <p:cNvSpPr txBox="1"/>
          <p:nvPr/>
        </p:nvSpPr>
        <p:spPr>
          <a:xfrm>
            <a:off x="254391" y="5632507"/>
            <a:ext cx="116883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400" dirty="0"/>
              <a:t>Csak az Egyesült Királyságban és Írországban nagyobb</a:t>
            </a:r>
            <a:br>
              <a:rPr lang="hu-HU" sz="2400" dirty="0"/>
            </a:br>
            <a:r>
              <a:rPr lang="hu-HU" sz="2400" dirty="0"/>
              <a:t>a teljes nemzetgazdaságból a digitális ipar részesedése!</a:t>
            </a:r>
          </a:p>
        </p:txBody>
      </p:sp>
    </p:spTree>
    <p:extLst>
      <p:ext uri="{BB962C8B-B14F-4D97-AF65-F5344CB8AC3E}">
        <p14:creationId xmlns:p14="http://schemas.microsoft.com/office/powerpoint/2010/main" val="1741256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" name="Kép 130"/>
          <p:cNvPicPr>
            <a:picLocks noChangeAspect="1"/>
          </p:cNvPicPr>
          <p:nvPr/>
        </p:nvPicPr>
        <p:blipFill rotWithShape="1">
          <a:blip r:embed="rId3" cstate="email">
            <a:duotone>
              <a:schemeClr val="accent1">
                <a:shade val="45000"/>
                <a:satMod val="135000"/>
              </a:schemeClr>
              <a:prstClr val="white"/>
            </a:duotone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-63373"/>
            <a:ext cx="12204000" cy="6933335"/>
          </a:xfrm>
          <a:prstGeom prst="rect">
            <a:avLst/>
          </a:prstGeom>
        </p:spPr>
      </p:pic>
      <p:sp>
        <p:nvSpPr>
          <p:cNvPr id="2" name="Title 1"/>
          <p:cNvSpPr txBox="1">
            <a:spLocks/>
          </p:cNvSpPr>
          <p:nvPr/>
        </p:nvSpPr>
        <p:spPr>
          <a:xfrm>
            <a:off x="4343400" y="580292"/>
            <a:ext cx="7526214" cy="5943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SPECIÁLIS DIÁK</a:t>
            </a:r>
            <a:endParaRPr lang="en-US" dirty="0"/>
          </a:p>
        </p:txBody>
      </p:sp>
      <p:sp>
        <p:nvSpPr>
          <p:cNvPr id="5" name="Rectangle 3"/>
          <p:cNvSpPr/>
          <p:nvPr/>
        </p:nvSpPr>
        <p:spPr>
          <a:xfrm rot="16200000">
            <a:off x="5238641" y="-5868109"/>
            <a:ext cx="1719893" cy="12878492"/>
          </a:xfrm>
          <a:custGeom>
            <a:avLst/>
            <a:gdLst>
              <a:gd name="connsiteX0" fmla="*/ 0 w 6042212"/>
              <a:gd name="connsiteY0" fmla="*/ 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0 h 4446494"/>
              <a:gd name="connsiteX0" fmla="*/ 0 w 6042212"/>
              <a:gd name="connsiteY0" fmla="*/ 1793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17930 h 4446494"/>
              <a:gd name="connsiteX0" fmla="*/ 278902 w 6321114"/>
              <a:gd name="connsiteY0" fmla="*/ 17930 h 4446494"/>
              <a:gd name="connsiteX1" fmla="*/ 6321114 w 6321114"/>
              <a:gd name="connsiteY1" fmla="*/ 0 h 4446494"/>
              <a:gd name="connsiteX2" fmla="*/ 6321114 w 6321114"/>
              <a:gd name="connsiteY2" fmla="*/ 4446494 h 4446494"/>
              <a:gd name="connsiteX3" fmla="*/ 278902 w 6321114"/>
              <a:gd name="connsiteY3" fmla="*/ 4446494 h 4446494"/>
              <a:gd name="connsiteX4" fmla="*/ 278902 w 6321114"/>
              <a:gd name="connsiteY4" fmla="*/ 17930 h 4446494"/>
              <a:gd name="connsiteX0" fmla="*/ 293564 w 6335776"/>
              <a:gd name="connsiteY0" fmla="*/ 17930 h 4500282"/>
              <a:gd name="connsiteX1" fmla="*/ 6335776 w 6335776"/>
              <a:gd name="connsiteY1" fmla="*/ 0 h 4500282"/>
              <a:gd name="connsiteX2" fmla="*/ 6335776 w 6335776"/>
              <a:gd name="connsiteY2" fmla="*/ 4446494 h 4500282"/>
              <a:gd name="connsiteX3" fmla="*/ 239776 w 6335776"/>
              <a:gd name="connsiteY3" fmla="*/ 4500282 h 4500282"/>
              <a:gd name="connsiteX4" fmla="*/ 293564 w 6335776"/>
              <a:gd name="connsiteY4" fmla="*/ 17930 h 4500282"/>
              <a:gd name="connsiteX0" fmla="*/ 477596 w 6519808"/>
              <a:gd name="connsiteY0" fmla="*/ 17930 h 4500282"/>
              <a:gd name="connsiteX1" fmla="*/ 6519808 w 6519808"/>
              <a:gd name="connsiteY1" fmla="*/ 0 h 4500282"/>
              <a:gd name="connsiteX2" fmla="*/ 6519808 w 6519808"/>
              <a:gd name="connsiteY2" fmla="*/ 4446494 h 4500282"/>
              <a:gd name="connsiteX3" fmla="*/ 423808 w 6519808"/>
              <a:gd name="connsiteY3" fmla="*/ 4500282 h 4500282"/>
              <a:gd name="connsiteX4" fmla="*/ 477596 w 6519808"/>
              <a:gd name="connsiteY4" fmla="*/ 17930 h 4500282"/>
              <a:gd name="connsiteX0" fmla="*/ 401857 w 6444069"/>
              <a:gd name="connsiteY0" fmla="*/ 17930 h 4500282"/>
              <a:gd name="connsiteX1" fmla="*/ 6444069 w 6444069"/>
              <a:gd name="connsiteY1" fmla="*/ 0 h 4500282"/>
              <a:gd name="connsiteX2" fmla="*/ 6444069 w 6444069"/>
              <a:gd name="connsiteY2" fmla="*/ 4446494 h 4500282"/>
              <a:gd name="connsiteX3" fmla="*/ 348069 w 6444069"/>
              <a:gd name="connsiteY3" fmla="*/ 4500282 h 4500282"/>
              <a:gd name="connsiteX4" fmla="*/ 401857 w 6444069"/>
              <a:gd name="connsiteY4" fmla="*/ 17930 h 4500282"/>
              <a:gd name="connsiteX0" fmla="*/ 283039 w 6325251"/>
              <a:gd name="connsiteY0" fmla="*/ 17930 h 4500282"/>
              <a:gd name="connsiteX1" fmla="*/ 6325251 w 6325251"/>
              <a:gd name="connsiteY1" fmla="*/ 0 h 4500282"/>
              <a:gd name="connsiteX2" fmla="*/ 6325251 w 6325251"/>
              <a:gd name="connsiteY2" fmla="*/ 4446494 h 4500282"/>
              <a:gd name="connsiteX3" fmla="*/ 229251 w 6325251"/>
              <a:gd name="connsiteY3" fmla="*/ 4500282 h 4500282"/>
              <a:gd name="connsiteX4" fmla="*/ 283039 w 6325251"/>
              <a:gd name="connsiteY4" fmla="*/ 17930 h 4500282"/>
              <a:gd name="connsiteX0" fmla="*/ 255115 w 6297327"/>
              <a:gd name="connsiteY0" fmla="*/ 17930 h 4500282"/>
              <a:gd name="connsiteX1" fmla="*/ 6297327 w 6297327"/>
              <a:gd name="connsiteY1" fmla="*/ 0 h 4500282"/>
              <a:gd name="connsiteX2" fmla="*/ 6297327 w 6297327"/>
              <a:gd name="connsiteY2" fmla="*/ 4446494 h 4500282"/>
              <a:gd name="connsiteX3" fmla="*/ 201327 w 6297327"/>
              <a:gd name="connsiteY3" fmla="*/ 4500282 h 4500282"/>
              <a:gd name="connsiteX4" fmla="*/ 255115 w 6297327"/>
              <a:gd name="connsiteY4" fmla="*/ 17930 h 4500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7327" h="4500282">
                <a:moveTo>
                  <a:pt x="255115" y="17930"/>
                </a:moveTo>
                <a:lnTo>
                  <a:pt x="6297327" y="0"/>
                </a:lnTo>
                <a:lnTo>
                  <a:pt x="6297327" y="4446494"/>
                </a:lnTo>
                <a:lnTo>
                  <a:pt x="201327" y="4500282"/>
                </a:lnTo>
                <a:cubicBezTo>
                  <a:pt x="4636" y="3696446"/>
                  <a:pt x="-152470" y="1310345"/>
                  <a:pt x="255115" y="17930"/>
                </a:cubicBezTo>
                <a:close/>
              </a:path>
            </a:pathLst>
          </a:custGeom>
          <a:gradFill>
            <a:gsLst>
              <a:gs pos="0">
                <a:srgbClr val="3A559F"/>
              </a:gs>
              <a:gs pos="100000">
                <a:srgbClr val="41739F"/>
              </a:gs>
            </a:gsLst>
            <a:lin ang="16200000" scaled="0"/>
          </a:gradFill>
          <a:ln w="762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70331" y="1"/>
            <a:ext cx="9995646" cy="1332196"/>
          </a:xfrm>
          <a:prstGeom prst="rect">
            <a:avLst/>
          </a:prstGeom>
          <a:effectLst/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0">
                <a:solidFill>
                  <a:schemeClr val="bg1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hu-HU" dirty="0"/>
              <a:t>Digitális vállalat </a:t>
            </a:r>
            <a:r>
              <a:rPr lang="mr-IN" dirty="0"/>
              <a:t>–</a:t>
            </a:r>
            <a:r>
              <a:rPr lang="hu-HU" dirty="0"/>
              <a:t> folyamatos innováció</a:t>
            </a:r>
            <a:endParaRPr lang="en-US" dirty="0"/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221" y="324415"/>
            <a:ext cx="1432449" cy="630278"/>
          </a:xfrm>
          <a:prstGeom prst="rect">
            <a:avLst/>
          </a:prstGeom>
        </p:spPr>
      </p:pic>
      <p:cxnSp>
        <p:nvCxnSpPr>
          <p:cNvPr id="8" name="Straight Connector 8"/>
          <p:cNvCxnSpPr/>
          <p:nvPr/>
        </p:nvCxnSpPr>
        <p:spPr>
          <a:xfrm>
            <a:off x="10410095" y="158265"/>
            <a:ext cx="0" cy="90000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>
            <a:extLst>
              <a:ext uri="{FF2B5EF4-FFF2-40B4-BE49-F238E27FC236}">
                <a16:creationId xmlns:a16="http://schemas.microsoft.com/office/drawing/2014/main" xmlns="" id="{7C23C493-4231-4E83-A365-643557CA9F7F}"/>
              </a:ext>
            </a:extLst>
          </p:cNvPr>
          <p:cNvSpPr/>
          <p:nvPr/>
        </p:nvSpPr>
        <p:spPr bwMode="gray">
          <a:xfrm>
            <a:off x="3983969" y="4962037"/>
            <a:ext cx="4485144" cy="635824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600" dirty="0"/>
          </a:p>
        </p:txBody>
      </p:sp>
      <p:grpSp>
        <p:nvGrpSpPr>
          <p:cNvPr id="13" name="Group 164">
            <a:extLst>
              <a:ext uri="{FF2B5EF4-FFF2-40B4-BE49-F238E27FC236}">
                <a16:creationId xmlns:a16="http://schemas.microsoft.com/office/drawing/2014/main" xmlns="" id="{8C5B36B2-7609-4BC2-9A32-65829D7C34A5}"/>
              </a:ext>
            </a:extLst>
          </p:cNvPr>
          <p:cNvGrpSpPr/>
          <p:nvPr/>
        </p:nvGrpSpPr>
        <p:grpSpPr bwMode="gray">
          <a:xfrm>
            <a:off x="7863531" y="2587229"/>
            <a:ext cx="1731471" cy="3213091"/>
            <a:chOff x="5829156" y="2090405"/>
            <a:chExt cx="1842660" cy="3419426"/>
          </a:xfrm>
        </p:grpSpPr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xmlns="" id="{982B9565-5E72-4AE8-8436-90BD30A5A98B}"/>
                </a:ext>
              </a:extLst>
            </p:cNvPr>
            <p:cNvSpPr>
              <a:spLocks/>
            </p:cNvSpPr>
            <p:nvPr/>
          </p:nvSpPr>
          <p:spPr bwMode="gray">
            <a:xfrm>
              <a:off x="6633808" y="5467995"/>
              <a:ext cx="233354" cy="41836"/>
            </a:xfrm>
            <a:custGeom>
              <a:avLst/>
              <a:gdLst/>
              <a:ahLst/>
              <a:cxnLst>
                <a:cxn ang="0">
                  <a:pos x="106" y="15"/>
                </a:cxn>
                <a:cxn ang="0">
                  <a:pos x="83" y="19"/>
                </a:cxn>
                <a:cxn ang="0">
                  <a:pos x="22" y="19"/>
                </a:cxn>
                <a:cxn ang="0">
                  <a:pos x="0" y="15"/>
                </a:cxn>
                <a:cxn ang="0">
                  <a:pos x="0" y="5"/>
                </a:cxn>
                <a:cxn ang="0">
                  <a:pos x="22" y="0"/>
                </a:cxn>
                <a:cxn ang="0">
                  <a:pos x="83" y="0"/>
                </a:cxn>
                <a:cxn ang="0">
                  <a:pos x="106" y="5"/>
                </a:cxn>
                <a:cxn ang="0">
                  <a:pos x="106" y="15"/>
                </a:cxn>
              </a:cxnLst>
              <a:rect l="0" t="0" r="r" b="b"/>
              <a:pathLst>
                <a:path w="106" h="19">
                  <a:moveTo>
                    <a:pt x="106" y="15"/>
                  </a:moveTo>
                  <a:cubicBezTo>
                    <a:pt x="106" y="17"/>
                    <a:pt x="96" y="19"/>
                    <a:pt x="83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10" y="19"/>
                    <a:pt x="0" y="17"/>
                    <a:pt x="0" y="1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10" y="0"/>
                    <a:pt x="22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96" y="0"/>
                    <a:pt x="106" y="2"/>
                    <a:pt x="106" y="5"/>
                  </a:cubicBezTo>
                  <a:lnTo>
                    <a:pt x="106" y="15"/>
                  </a:lnTo>
                  <a:close/>
                </a:path>
              </a:pathLst>
            </a:custGeom>
            <a:solidFill>
              <a:srgbClr val="96969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xmlns="" id="{14D89877-765B-4979-8260-BC3716039144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7643" y="4875777"/>
              <a:ext cx="625687" cy="607091"/>
            </a:xfrm>
            <a:custGeom>
              <a:avLst/>
              <a:gdLst/>
              <a:ahLst/>
              <a:cxnLst>
                <a:cxn ang="0">
                  <a:pos x="187" y="653"/>
                </a:cxn>
                <a:cxn ang="0">
                  <a:pos x="0" y="419"/>
                </a:cxn>
                <a:cxn ang="0">
                  <a:pos x="67" y="128"/>
                </a:cxn>
                <a:cxn ang="0">
                  <a:pos x="337" y="0"/>
                </a:cxn>
                <a:cxn ang="0">
                  <a:pos x="607" y="128"/>
                </a:cxn>
                <a:cxn ang="0">
                  <a:pos x="673" y="419"/>
                </a:cxn>
                <a:cxn ang="0">
                  <a:pos x="486" y="653"/>
                </a:cxn>
                <a:cxn ang="0">
                  <a:pos x="187" y="653"/>
                </a:cxn>
              </a:cxnLst>
              <a:rect l="0" t="0" r="r" b="b"/>
              <a:pathLst>
                <a:path w="673" h="653">
                  <a:moveTo>
                    <a:pt x="187" y="653"/>
                  </a:moveTo>
                  <a:lnTo>
                    <a:pt x="0" y="419"/>
                  </a:lnTo>
                  <a:lnTo>
                    <a:pt x="67" y="128"/>
                  </a:lnTo>
                  <a:lnTo>
                    <a:pt x="337" y="0"/>
                  </a:lnTo>
                  <a:lnTo>
                    <a:pt x="607" y="128"/>
                  </a:lnTo>
                  <a:lnTo>
                    <a:pt x="673" y="419"/>
                  </a:lnTo>
                  <a:lnTo>
                    <a:pt x="486" y="653"/>
                  </a:lnTo>
                  <a:lnTo>
                    <a:pt x="187" y="653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xmlns="" id="{5871E455-9FA8-495B-A48E-E4687F74FAFD}"/>
                </a:ext>
              </a:extLst>
            </p:cNvPr>
            <p:cNvSpPr>
              <a:spLocks/>
            </p:cNvSpPr>
            <p:nvPr/>
          </p:nvSpPr>
          <p:spPr bwMode="gray">
            <a:xfrm>
              <a:off x="6395807" y="4671243"/>
              <a:ext cx="709359" cy="700061"/>
            </a:xfrm>
            <a:custGeom>
              <a:avLst/>
              <a:gdLst/>
              <a:ahLst/>
              <a:cxnLst>
                <a:cxn ang="0">
                  <a:pos x="322" y="247"/>
                </a:cxn>
                <a:cxn ang="0">
                  <a:pos x="254" y="318"/>
                </a:cxn>
                <a:cxn ang="0">
                  <a:pos x="68" y="318"/>
                </a:cxn>
                <a:cxn ang="0">
                  <a:pos x="0" y="247"/>
                </a:cxn>
                <a:cxn ang="0">
                  <a:pos x="0" y="71"/>
                </a:cxn>
                <a:cxn ang="0">
                  <a:pos x="68" y="0"/>
                </a:cxn>
                <a:cxn ang="0">
                  <a:pos x="254" y="0"/>
                </a:cxn>
                <a:cxn ang="0">
                  <a:pos x="322" y="71"/>
                </a:cxn>
                <a:cxn ang="0">
                  <a:pos x="322" y="247"/>
                </a:cxn>
              </a:cxnLst>
              <a:rect l="0" t="0" r="r" b="b"/>
              <a:pathLst>
                <a:path w="322" h="318">
                  <a:moveTo>
                    <a:pt x="322" y="247"/>
                  </a:moveTo>
                  <a:cubicBezTo>
                    <a:pt x="322" y="286"/>
                    <a:pt x="292" y="318"/>
                    <a:pt x="254" y="318"/>
                  </a:cubicBezTo>
                  <a:cubicBezTo>
                    <a:pt x="68" y="318"/>
                    <a:pt x="68" y="318"/>
                    <a:pt x="68" y="318"/>
                  </a:cubicBezTo>
                  <a:cubicBezTo>
                    <a:pt x="30" y="318"/>
                    <a:pt x="0" y="286"/>
                    <a:pt x="0" y="247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32"/>
                    <a:pt x="30" y="0"/>
                    <a:pt x="68" y="0"/>
                  </a:cubicBezTo>
                  <a:cubicBezTo>
                    <a:pt x="254" y="0"/>
                    <a:pt x="254" y="0"/>
                    <a:pt x="254" y="0"/>
                  </a:cubicBezTo>
                  <a:cubicBezTo>
                    <a:pt x="292" y="0"/>
                    <a:pt x="322" y="32"/>
                    <a:pt x="322" y="71"/>
                  </a:cubicBezTo>
                  <a:lnTo>
                    <a:pt x="322" y="247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969696"/>
                </a:gs>
                <a:gs pos="50000">
                  <a:srgbClr val="CDCDCD"/>
                </a:gs>
                <a:gs pos="100000">
                  <a:srgbClr val="969696"/>
                </a:gs>
              </a:gsLst>
              <a:lin ang="108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xmlns="" id="{19934C9F-9140-45E7-A062-8024365AE0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4888" y="5181648"/>
              <a:ext cx="751196" cy="75305"/>
            </a:xfrm>
            <a:custGeom>
              <a:avLst/>
              <a:gdLst/>
              <a:ahLst/>
              <a:cxnLst>
                <a:cxn ang="0">
                  <a:pos x="341" y="20"/>
                </a:cxn>
                <a:cxn ang="0">
                  <a:pos x="269" y="28"/>
                </a:cxn>
                <a:cxn ang="0">
                  <a:pos x="72" y="33"/>
                </a:cxn>
                <a:cxn ang="0">
                  <a:pos x="0" y="29"/>
                </a:cxn>
                <a:cxn ang="0">
                  <a:pos x="0" y="14"/>
                </a:cxn>
                <a:cxn ang="0">
                  <a:pos x="72" y="7"/>
                </a:cxn>
                <a:cxn ang="0">
                  <a:pos x="269" y="1"/>
                </a:cxn>
                <a:cxn ang="0">
                  <a:pos x="341" y="6"/>
                </a:cxn>
                <a:cxn ang="0">
                  <a:pos x="341" y="20"/>
                </a:cxn>
              </a:cxnLst>
              <a:rect l="0" t="0" r="r" b="b"/>
              <a:pathLst>
                <a:path w="341" h="34">
                  <a:moveTo>
                    <a:pt x="341" y="20"/>
                  </a:moveTo>
                  <a:cubicBezTo>
                    <a:pt x="341" y="24"/>
                    <a:pt x="309" y="27"/>
                    <a:pt x="269" y="28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33" y="34"/>
                    <a:pt x="0" y="32"/>
                    <a:pt x="0" y="29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32" y="8"/>
                    <a:pt x="72" y="7"/>
                  </a:cubicBezTo>
                  <a:cubicBezTo>
                    <a:pt x="269" y="1"/>
                    <a:pt x="269" y="1"/>
                    <a:pt x="269" y="1"/>
                  </a:cubicBezTo>
                  <a:cubicBezTo>
                    <a:pt x="308" y="0"/>
                    <a:pt x="341" y="2"/>
                    <a:pt x="341" y="6"/>
                  </a:cubicBezTo>
                  <a:lnTo>
                    <a:pt x="341" y="2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DCDCD"/>
                </a:gs>
                <a:gs pos="50000">
                  <a:srgbClr val="969696"/>
                </a:gs>
                <a:gs pos="100000">
                  <a:srgbClr val="CDCDCD"/>
                </a:gs>
              </a:gsLst>
              <a:lin ang="108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xmlns="" id="{38556B92-75DD-48FF-BAFC-9ECEC4A2F964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3493" y="5060786"/>
              <a:ext cx="753985" cy="74376"/>
            </a:xfrm>
            <a:custGeom>
              <a:avLst/>
              <a:gdLst/>
              <a:ahLst/>
              <a:cxnLst>
                <a:cxn ang="0">
                  <a:pos x="341" y="20"/>
                </a:cxn>
                <a:cxn ang="0">
                  <a:pos x="270" y="28"/>
                </a:cxn>
                <a:cxn ang="0">
                  <a:pos x="73" y="33"/>
                </a:cxn>
                <a:cxn ang="0">
                  <a:pos x="1" y="29"/>
                </a:cxn>
                <a:cxn ang="0">
                  <a:pos x="0" y="14"/>
                </a:cxn>
                <a:cxn ang="0">
                  <a:pos x="72" y="6"/>
                </a:cxn>
                <a:cxn ang="0">
                  <a:pos x="269" y="1"/>
                </a:cxn>
                <a:cxn ang="0">
                  <a:pos x="341" y="5"/>
                </a:cxn>
                <a:cxn ang="0">
                  <a:pos x="341" y="20"/>
                </a:cxn>
              </a:cxnLst>
              <a:rect l="0" t="0" r="r" b="b"/>
              <a:pathLst>
                <a:path w="342" h="34">
                  <a:moveTo>
                    <a:pt x="341" y="20"/>
                  </a:moveTo>
                  <a:cubicBezTo>
                    <a:pt x="342" y="23"/>
                    <a:pt x="309" y="27"/>
                    <a:pt x="270" y="28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33" y="34"/>
                    <a:pt x="1" y="32"/>
                    <a:pt x="1" y="29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1"/>
                    <a:pt x="32" y="7"/>
                    <a:pt x="72" y="6"/>
                  </a:cubicBezTo>
                  <a:cubicBezTo>
                    <a:pt x="269" y="1"/>
                    <a:pt x="269" y="1"/>
                    <a:pt x="269" y="1"/>
                  </a:cubicBezTo>
                  <a:cubicBezTo>
                    <a:pt x="309" y="0"/>
                    <a:pt x="341" y="2"/>
                    <a:pt x="341" y="5"/>
                  </a:cubicBezTo>
                  <a:lnTo>
                    <a:pt x="341" y="2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DCDCD"/>
                </a:gs>
                <a:gs pos="50000">
                  <a:srgbClr val="969696"/>
                </a:gs>
                <a:gs pos="100000">
                  <a:srgbClr val="CDCDCD"/>
                </a:gs>
              </a:gsLst>
              <a:lin ang="108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xmlns="" id="{56EE0858-7B3A-4F3A-B1E3-A9D37AA0537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4888" y="4939926"/>
              <a:ext cx="751196" cy="72516"/>
            </a:xfrm>
            <a:custGeom>
              <a:avLst/>
              <a:gdLst/>
              <a:ahLst/>
              <a:cxnLst>
                <a:cxn ang="0">
                  <a:pos x="341" y="20"/>
                </a:cxn>
                <a:cxn ang="0">
                  <a:pos x="269" y="27"/>
                </a:cxn>
                <a:cxn ang="0">
                  <a:pos x="72" y="32"/>
                </a:cxn>
                <a:cxn ang="0">
                  <a:pos x="0" y="28"/>
                </a:cxn>
                <a:cxn ang="0">
                  <a:pos x="0" y="14"/>
                </a:cxn>
                <a:cxn ang="0">
                  <a:pos x="72" y="6"/>
                </a:cxn>
                <a:cxn ang="0">
                  <a:pos x="269" y="1"/>
                </a:cxn>
                <a:cxn ang="0">
                  <a:pos x="341" y="5"/>
                </a:cxn>
                <a:cxn ang="0">
                  <a:pos x="341" y="20"/>
                </a:cxn>
              </a:cxnLst>
              <a:rect l="0" t="0" r="r" b="b"/>
              <a:pathLst>
                <a:path w="341" h="33">
                  <a:moveTo>
                    <a:pt x="341" y="20"/>
                  </a:moveTo>
                  <a:cubicBezTo>
                    <a:pt x="341" y="23"/>
                    <a:pt x="309" y="26"/>
                    <a:pt x="269" y="27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33" y="33"/>
                    <a:pt x="0" y="32"/>
                    <a:pt x="0" y="28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0"/>
                    <a:pt x="32" y="7"/>
                    <a:pt x="72" y="6"/>
                  </a:cubicBezTo>
                  <a:cubicBezTo>
                    <a:pt x="269" y="1"/>
                    <a:pt x="269" y="1"/>
                    <a:pt x="269" y="1"/>
                  </a:cubicBezTo>
                  <a:cubicBezTo>
                    <a:pt x="308" y="0"/>
                    <a:pt x="341" y="2"/>
                    <a:pt x="341" y="5"/>
                  </a:cubicBezTo>
                  <a:lnTo>
                    <a:pt x="341" y="2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CDCDCD"/>
                </a:gs>
                <a:gs pos="50000">
                  <a:srgbClr val="969696"/>
                </a:gs>
                <a:gs pos="100000">
                  <a:srgbClr val="CDCDCD"/>
                </a:gs>
              </a:gsLst>
              <a:lin ang="108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xmlns="" id="{E18D8A6E-5D5E-4CD8-9708-D331646A712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60478" y="4726096"/>
              <a:ext cx="780015" cy="186869"/>
            </a:xfrm>
            <a:custGeom>
              <a:avLst/>
              <a:gdLst/>
              <a:ahLst/>
              <a:cxnLst>
                <a:cxn ang="0">
                  <a:pos x="354" y="66"/>
                </a:cxn>
                <a:cxn ang="0">
                  <a:pos x="279" y="85"/>
                </a:cxn>
                <a:cxn ang="0">
                  <a:pos x="75" y="85"/>
                </a:cxn>
                <a:cxn ang="0">
                  <a:pos x="0" y="66"/>
                </a:cxn>
                <a:cxn ang="0">
                  <a:pos x="0" y="19"/>
                </a:cxn>
                <a:cxn ang="0">
                  <a:pos x="75" y="0"/>
                </a:cxn>
                <a:cxn ang="0">
                  <a:pos x="279" y="0"/>
                </a:cxn>
                <a:cxn ang="0">
                  <a:pos x="354" y="19"/>
                </a:cxn>
                <a:cxn ang="0">
                  <a:pos x="354" y="66"/>
                </a:cxn>
              </a:cxnLst>
              <a:rect l="0" t="0" r="r" b="b"/>
              <a:pathLst>
                <a:path w="354" h="85">
                  <a:moveTo>
                    <a:pt x="354" y="66"/>
                  </a:moveTo>
                  <a:cubicBezTo>
                    <a:pt x="354" y="76"/>
                    <a:pt x="321" y="85"/>
                    <a:pt x="279" y="85"/>
                  </a:cubicBezTo>
                  <a:cubicBezTo>
                    <a:pt x="75" y="85"/>
                    <a:pt x="75" y="85"/>
                    <a:pt x="75" y="85"/>
                  </a:cubicBezTo>
                  <a:cubicBezTo>
                    <a:pt x="33" y="85"/>
                    <a:pt x="0" y="76"/>
                    <a:pt x="0" y="6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8"/>
                    <a:pt x="33" y="0"/>
                    <a:pt x="75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321" y="0"/>
                    <a:pt x="354" y="8"/>
                    <a:pt x="354" y="19"/>
                  </a:cubicBezTo>
                  <a:lnTo>
                    <a:pt x="354" y="6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969696"/>
                </a:gs>
                <a:gs pos="50000">
                  <a:srgbClr val="CDCDCD"/>
                </a:gs>
                <a:gs pos="100000">
                  <a:srgbClr val="969696"/>
                </a:gs>
              </a:gsLst>
              <a:lin ang="108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xmlns="" id="{7FB2A126-91E3-419C-A799-5184E87E07B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9652" y="4413719"/>
              <a:ext cx="1141667" cy="363512"/>
            </a:xfrm>
            <a:custGeom>
              <a:avLst/>
              <a:gdLst/>
              <a:ahLst/>
              <a:cxnLst>
                <a:cxn ang="0">
                  <a:pos x="82" y="165"/>
                </a:cxn>
                <a:cxn ang="0">
                  <a:pos x="435" y="165"/>
                </a:cxn>
                <a:cxn ang="0">
                  <a:pos x="518" y="0"/>
                </a:cxn>
                <a:cxn ang="0">
                  <a:pos x="0" y="0"/>
                </a:cxn>
                <a:cxn ang="0">
                  <a:pos x="82" y="165"/>
                </a:cxn>
              </a:cxnLst>
              <a:rect l="0" t="0" r="r" b="b"/>
              <a:pathLst>
                <a:path w="518" h="165">
                  <a:moveTo>
                    <a:pt x="82" y="165"/>
                  </a:moveTo>
                  <a:cubicBezTo>
                    <a:pt x="435" y="165"/>
                    <a:pt x="435" y="165"/>
                    <a:pt x="435" y="165"/>
                  </a:cubicBezTo>
                  <a:cubicBezTo>
                    <a:pt x="483" y="123"/>
                    <a:pt x="514" y="65"/>
                    <a:pt x="5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65"/>
                    <a:pt x="35" y="123"/>
                    <a:pt x="82" y="165"/>
                  </a:cubicBezTo>
                  <a:close/>
                </a:path>
              </a:pathLst>
            </a:custGeom>
            <a:solidFill>
              <a:srgbClr val="CDCDC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xmlns="" id="{38C9BBD9-41AD-44E2-9F5F-6B9A3A6D62B6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6821" y="3062317"/>
              <a:ext cx="1807331" cy="1362560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160" y="595"/>
                </a:cxn>
                <a:cxn ang="0">
                  <a:pos x="660" y="595"/>
                </a:cxn>
                <a:cxn ang="0">
                  <a:pos x="820" y="56"/>
                </a:cxn>
                <a:cxn ang="0">
                  <a:pos x="820" y="0"/>
                </a:cxn>
                <a:cxn ang="0">
                  <a:pos x="0" y="0"/>
                </a:cxn>
                <a:cxn ang="0">
                  <a:pos x="0" y="56"/>
                </a:cxn>
              </a:cxnLst>
              <a:rect l="0" t="0" r="r" b="b"/>
              <a:pathLst>
                <a:path w="820" h="595">
                  <a:moveTo>
                    <a:pt x="0" y="56"/>
                  </a:moveTo>
                  <a:cubicBezTo>
                    <a:pt x="0" y="56"/>
                    <a:pt x="156" y="408"/>
                    <a:pt x="160" y="595"/>
                  </a:cubicBezTo>
                  <a:cubicBezTo>
                    <a:pt x="660" y="595"/>
                    <a:pt x="660" y="595"/>
                    <a:pt x="660" y="595"/>
                  </a:cubicBezTo>
                  <a:cubicBezTo>
                    <a:pt x="664" y="408"/>
                    <a:pt x="820" y="56"/>
                    <a:pt x="820" y="56"/>
                  </a:cubicBezTo>
                  <a:cubicBezTo>
                    <a:pt x="820" y="0"/>
                    <a:pt x="820" y="0"/>
                    <a:pt x="82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6"/>
                  </a:lnTo>
                  <a:close/>
                </a:path>
              </a:pathLst>
            </a:custGeom>
            <a:solidFill>
              <a:srgbClr val="4D4D4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23" name="Freeform 27">
              <a:extLst>
                <a:ext uri="{FF2B5EF4-FFF2-40B4-BE49-F238E27FC236}">
                  <a16:creationId xmlns:a16="http://schemas.microsoft.com/office/drawing/2014/main" xmlns="" id="{C213AA30-A94A-46AB-AD09-049439C3F7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2637" y="2090405"/>
              <a:ext cx="1815699" cy="861828"/>
            </a:xfrm>
            <a:custGeom>
              <a:avLst/>
              <a:gdLst/>
              <a:ahLst/>
              <a:cxnLst>
                <a:cxn ang="0">
                  <a:pos x="412" y="0"/>
                </a:cxn>
                <a:cxn ang="0">
                  <a:pos x="0" y="392"/>
                </a:cxn>
                <a:cxn ang="0">
                  <a:pos x="824" y="392"/>
                </a:cxn>
                <a:cxn ang="0">
                  <a:pos x="412" y="0"/>
                </a:cxn>
              </a:cxnLst>
              <a:rect l="0" t="0" r="r" b="b"/>
              <a:pathLst>
                <a:path w="824" h="392">
                  <a:moveTo>
                    <a:pt x="412" y="0"/>
                  </a:moveTo>
                  <a:cubicBezTo>
                    <a:pt x="186" y="0"/>
                    <a:pt x="3" y="175"/>
                    <a:pt x="0" y="392"/>
                  </a:cubicBezTo>
                  <a:cubicBezTo>
                    <a:pt x="824" y="392"/>
                    <a:pt x="824" y="392"/>
                    <a:pt x="824" y="392"/>
                  </a:cubicBezTo>
                  <a:cubicBezTo>
                    <a:pt x="821" y="175"/>
                    <a:pt x="638" y="0"/>
                    <a:pt x="412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FFFF99"/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  <a:tileRect/>
            </a:gradFill>
            <a:ln w="9525" cap="flat">
              <a:solidFill>
                <a:srgbClr val="CDCDC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sp>
          <p:nvSpPr>
            <p:cNvPr id="24" name="Rectangle 28">
              <a:extLst>
                <a:ext uri="{FF2B5EF4-FFF2-40B4-BE49-F238E27FC236}">
                  <a16:creationId xmlns:a16="http://schemas.microsoft.com/office/drawing/2014/main" xmlns="" id="{3A922BDB-80E1-4E96-AD2D-5A71D7966E4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29156" y="2939221"/>
              <a:ext cx="1842660" cy="200816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/>
            </a:p>
          </p:txBody>
        </p:sp>
        <p:grpSp>
          <p:nvGrpSpPr>
            <p:cNvPr id="25" name="Group 161">
              <a:extLst>
                <a:ext uri="{FF2B5EF4-FFF2-40B4-BE49-F238E27FC236}">
                  <a16:creationId xmlns:a16="http://schemas.microsoft.com/office/drawing/2014/main" xmlns="" id="{C6820F7C-2078-41F2-A577-49B7FC016B65}"/>
                </a:ext>
              </a:extLst>
            </p:cNvPr>
            <p:cNvGrpSpPr/>
            <p:nvPr/>
          </p:nvGrpSpPr>
          <p:grpSpPr bwMode="gray">
            <a:xfrm>
              <a:off x="5842919" y="3044371"/>
              <a:ext cx="1815132" cy="1401052"/>
              <a:chOff x="8440738" y="3586163"/>
              <a:chExt cx="1404938" cy="1031875"/>
            </a:xfrm>
            <a:solidFill>
              <a:srgbClr val="CDCDCD"/>
            </a:solidFill>
          </p:grpSpPr>
          <p:sp>
            <p:nvSpPr>
              <p:cNvPr id="26" name="Freeform 124">
                <a:extLst>
                  <a:ext uri="{FF2B5EF4-FFF2-40B4-BE49-F238E27FC236}">
                    <a16:creationId xmlns:a16="http://schemas.microsoft.com/office/drawing/2014/main" xmlns="" id="{FFD75A48-9C65-401A-B611-F7BEC59278F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40738" y="3586163"/>
                <a:ext cx="312738" cy="1031875"/>
              </a:xfrm>
              <a:custGeom>
                <a:avLst/>
                <a:gdLst/>
                <a:ahLst/>
                <a:cxnLst>
                  <a:cxn ang="0">
                    <a:pos x="184" y="609"/>
                  </a:cxn>
                  <a:cxn ang="0">
                    <a:pos x="160" y="609"/>
                  </a:cxn>
                  <a:cxn ang="0">
                    <a:pos x="1" y="69"/>
                  </a:cxn>
                  <a:cxn ang="0">
                    <a:pos x="0" y="67"/>
                  </a:cxn>
                  <a:cxn ang="0">
                    <a:pos x="0" y="0"/>
                  </a:cxn>
                  <a:cxn ang="0">
                    <a:pos x="12" y="0"/>
                  </a:cxn>
                  <a:cxn ang="0">
                    <a:pos x="24" y="62"/>
                  </a:cxn>
                  <a:cxn ang="0">
                    <a:pos x="184" y="609"/>
                  </a:cxn>
                </a:cxnLst>
                <a:rect l="0" t="0" r="r" b="b"/>
                <a:pathLst>
                  <a:path w="184" h="609">
                    <a:moveTo>
                      <a:pt x="184" y="609"/>
                    </a:moveTo>
                    <a:cubicBezTo>
                      <a:pt x="160" y="609"/>
                      <a:pt x="160" y="609"/>
                      <a:pt x="160" y="609"/>
                    </a:cubicBezTo>
                    <a:cubicBezTo>
                      <a:pt x="160" y="429"/>
                      <a:pt x="3" y="73"/>
                      <a:pt x="1" y="69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24" y="62"/>
                      <a:pt x="24" y="62"/>
                      <a:pt x="24" y="62"/>
                    </a:cubicBezTo>
                    <a:cubicBezTo>
                      <a:pt x="39" y="96"/>
                      <a:pt x="184" y="430"/>
                      <a:pt x="184" y="60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  <p:sp>
            <p:nvSpPr>
              <p:cNvPr id="27" name="Freeform 125">
                <a:extLst>
                  <a:ext uri="{FF2B5EF4-FFF2-40B4-BE49-F238E27FC236}">
                    <a16:creationId xmlns:a16="http://schemas.microsoft.com/office/drawing/2014/main" xmlns="" id="{58589141-57EA-44FC-98C4-A4B9226F685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591551" y="3586163"/>
                <a:ext cx="252413" cy="1031875"/>
              </a:xfrm>
              <a:custGeom>
                <a:avLst/>
                <a:gdLst/>
                <a:ahLst/>
                <a:cxnLst>
                  <a:cxn ang="0">
                    <a:pos x="149" y="609"/>
                  </a:cxn>
                  <a:cxn ang="0">
                    <a:pos x="125" y="609"/>
                  </a:cxn>
                  <a:cxn ang="0">
                    <a:pos x="1" y="68"/>
                  </a:cxn>
                  <a:cxn ang="0">
                    <a:pos x="1" y="59"/>
                  </a:cxn>
                  <a:cxn ang="0">
                    <a:pos x="2" y="0"/>
                  </a:cxn>
                  <a:cxn ang="0">
                    <a:pos x="13" y="8"/>
                  </a:cxn>
                  <a:cxn ang="0">
                    <a:pos x="24" y="62"/>
                  </a:cxn>
                  <a:cxn ang="0">
                    <a:pos x="149" y="609"/>
                  </a:cxn>
                </a:cxnLst>
                <a:rect l="0" t="0" r="r" b="b"/>
                <a:pathLst>
                  <a:path w="149" h="609">
                    <a:moveTo>
                      <a:pt x="149" y="609"/>
                    </a:moveTo>
                    <a:cubicBezTo>
                      <a:pt x="125" y="609"/>
                      <a:pt x="125" y="609"/>
                      <a:pt x="125" y="609"/>
                    </a:cubicBezTo>
                    <a:cubicBezTo>
                      <a:pt x="125" y="429"/>
                      <a:pt x="0" y="75"/>
                      <a:pt x="1" y="68"/>
                    </a:cubicBezTo>
                    <a:cubicBezTo>
                      <a:pt x="1" y="59"/>
                      <a:pt x="1" y="59"/>
                      <a:pt x="1" y="59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24" y="62"/>
                      <a:pt x="24" y="62"/>
                      <a:pt x="24" y="62"/>
                    </a:cubicBezTo>
                    <a:cubicBezTo>
                      <a:pt x="37" y="93"/>
                      <a:pt x="149" y="430"/>
                      <a:pt x="149" y="60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  <p:sp>
            <p:nvSpPr>
              <p:cNvPr id="28" name="Freeform 126">
                <a:extLst>
                  <a:ext uri="{FF2B5EF4-FFF2-40B4-BE49-F238E27FC236}">
                    <a16:creationId xmlns:a16="http://schemas.microsoft.com/office/drawing/2014/main" xmlns="" id="{799F8ED3-1FE7-4F82-B750-0FB131DBE9F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740776" y="3586163"/>
                <a:ext cx="193675" cy="1031875"/>
              </a:xfrm>
              <a:custGeom>
                <a:avLst/>
                <a:gdLst/>
                <a:ahLst/>
                <a:cxnLst>
                  <a:cxn ang="0">
                    <a:pos x="114" y="609"/>
                  </a:cxn>
                  <a:cxn ang="0">
                    <a:pos x="90" y="609"/>
                  </a:cxn>
                  <a:cxn ang="0">
                    <a:pos x="2" y="68"/>
                  </a:cxn>
                  <a:cxn ang="0">
                    <a:pos x="4" y="52"/>
                  </a:cxn>
                  <a:cxn ang="0">
                    <a:pos x="7" y="0"/>
                  </a:cxn>
                  <a:cxn ang="0">
                    <a:pos x="16" y="15"/>
                  </a:cxn>
                  <a:cxn ang="0">
                    <a:pos x="25" y="63"/>
                  </a:cxn>
                  <a:cxn ang="0">
                    <a:pos x="114" y="609"/>
                  </a:cxn>
                </a:cxnLst>
                <a:rect l="0" t="0" r="r" b="b"/>
                <a:pathLst>
                  <a:path w="114" h="609">
                    <a:moveTo>
                      <a:pt x="114" y="609"/>
                    </a:moveTo>
                    <a:cubicBezTo>
                      <a:pt x="90" y="609"/>
                      <a:pt x="90" y="609"/>
                      <a:pt x="90" y="609"/>
                    </a:cubicBezTo>
                    <a:cubicBezTo>
                      <a:pt x="90" y="429"/>
                      <a:pt x="0" y="78"/>
                      <a:pt x="2" y="68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25" y="63"/>
                      <a:pt x="25" y="63"/>
                      <a:pt x="25" y="63"/>
                    </a:cubicBezTo>
                    <a:cubicBezTo>
                      <a:pt x="36" y="91"/>
                      <a:pt x="114" y="430"/>
                      <a:pt x="114" y="60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  <p:sp>
            <p:nvSpPr>
              <p:cNvPr id="29" name="Freeform 18">
                <a:extLst>
                  <a:ext uri="{FF2B5EF4-FFF2-40B4-BE49-F238E27FC236}">
                    <a16:creationId xmlns:a16="http://schemas.microsoft.com/office/drawing/2014/main" xmlns="" id="{4B471C6B-CB00-491E-87FC-CDA0B9E26DD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888413" y="3586163"/>
                <a:ext cx="138113" cy="1031875"/>
              </a:xfrm>
              <a:custGeom>
                <a:avLst/>
                <a:gdLst/>
                <a:ahLst/>
                <a:cxnLst>
                  <a:cxn ang="0">
                    <a:pos x="81" y="609"/>
                  </a:cxn>
                  <a:cxn ang="0">
                    <a:pos x="57" y="609"/>
                  </a:cxn>
                  <a:cxn ang="0">
                    <a:pos x="4" y="67"/>
                  </a:cxn>
                  <a:cxn ang="0">
                    <a:pos x="8" y="45"/>
                  </a:cxn>
                  <a:cxn ang="0">
                    <a:pos x="12" y="0"/>
                  </a:cxn>
                  <a:cxn ang="0">
                    <a:pos x="20" y="23"/>
                  </a:cxn>
                  <a:cxn ang="0">
                    <a:pos x="27" y="64"/>
                  </a:cxn>
                  <a:cxn ang="0">
                    <a:pos x="81" y="609"/>
                  </a:cxn>
                </a:cxnLst>
                <a:rect l="0" t="0" r="r" b="b"/>
                <a:pathLst>
                  <a:path w="81" h="609">
                    <a:moveTo>
                      <a:pt x="81" y="609"/>
                    </a:moveTo>
                    <a:cubicBezTo>
                      <a:pt x="57" y="609"/>
                      <a:pt x="57" y="609"/>
                      <a:pt x="57" y="609"/>
                    </a:cubicBezTo>
                    <a:cubicBezTo>
                      <a:pt x="57" y="429"/>
                      <a:pt x="0" y="81"/>
                      <a:pt x="4" y="67"/>
                    </a:cubicBezTo>
                    <a:cubicBezTo>
                      <a:pt x="8" y="45"/>
                      <a:pt x="8" y="45"/>
                      <a:pt x="8" y="45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20" y="23"/>
                      <a:pt x="20" y="23"/>
                      <a:pt x="20" y="23"/>
                    </a:cubicBezTo>
                    <a:cubicBezTo>
                      <a:pt x="27" y="64"/>
                      <a:pt x="27" y="64"/>
                      <a:pt x="27" y="64"/>
                    </a:cubicBezTo>
                    <a:cubicBezTo>
                      <a:pt x="37" y="88"/>
                      <a:pt x="81" y="430"/>
                      <a:pt x="81" y="60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  <p:sp>
            <p:nvSpPr>
              <p:cNvPr id="30" name="Freeform 19">
                <a:extLst>
                  <a:ext uri="{FF2B5EF4-FFF2-40B4-BE49-F238E27FC236}">
                    <a16:creationId xmlns:a16="http://schemas.microsoft.com/office/drawing/2014/main" xmlns="" id="{E62C36E8-2E5B-4318-9076-51CDB60BF8F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037638" y="3586163"/>
                <a:ext cx="79375" cy="1031875"/>
              </a:xfrm>
              <a:custGeom>
                <a:avLst/>
                <a:gdLst/>
                <a:ahLst/>
                <a:cxnLst>
                  <a:cxn ang="0">
                    <a:pos x="47" y="609"/>
                  </a:cxn>
                  <a:cxn ang="0">
                    <a:pos x="23" y="609"/>
                  </a:cxn>
                  <a:cxn ang="0">
                    <a:pos x="6" y="66"/>
                  </a:cxn>
                  <a:cxn ang="0">
                    <a:pos x="11" y="37"/>
                  </a:cxn>
                  <a:cxn ang="0">
                    <a:pos x="16" y="0"/>
                  </a:cxn>
                  <a:cxn ang="0">
                    <a:pos x="23" y="30"/>
                  </a:cxn>
                  <a:cxn ang="0">
                    <a:pos x="29" y="65"/>
                  </a:cxn>
                  <a:cxn ang="0">
                    <a:pos x="47" y="609"/>
                  </a:cxn>
                </a:cxnLst>
                <a:rect l="0" t="0" r="r" b="b"/>
                <a:pathLst>
                  <a:path w="47" h="609">
                    <a:moveTo>
                      <a:pt x="47" y="609"/>
                    </a:moveTo>
                    <a:cubicBezTo>
                      <a:pt x="23" y="609"/>
                      <a:pt x="23" y="609"/>
                      <a:pt x="23" y="609"/>
                    </a:cubicBezTo>
                    <a:cubicBezTo>
                      <a:pt x="23" y="430"/>
                      <a:pt x="0" y="83"/>
                      <a:pt x="6" y="66"/>
                    </a:cubicBezTo>
                    <a:cubicBezTo>
                      <a:pt x="11" y="37"/>
                      <a:pt x="11" y="37"/>
                      <a:pt x="11" y="37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23" y="30"/>
                      <a:pt x="23" y="30"/>
                      <a:pt x="23" y="30"/>
                    </a:cubicBezTo>
                    <a:cubicBezTo>
                      <a:pt x="29" y="65"/>
                      <a:pt x="29" y="65"/>
                      <a:pt x="29" y="65"/>
                    </a:cubicBezTo>
                    <a:cubicBezTo>
                      <a:pt x="37" y="86"/>
                      <a:pt x="47" y="430"/>
                      <a:pt x="47" y="60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  <p:sp>
            <p:nvSpPr>
              <p:cNvPr id="31" name="Freeform 20">
                <a:extLst>
                  <a:ext uri="{FF2B5EF4-FFF2-40B4-BE49-F238E27FC236}">
                    <a16:creationId xmlns:a16="http://schemas.microsoft.com/office/drawing/2014/main" xmlns="" id="{59D71B68-566E-441F-9054-84F54093C3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167813" y="3586163"/>
                <a:ext cx="80963" cy="1031875"/>
              </a:xfrm>
              <a:custGeom>
                <a:avLst/>
                <a:gdLst/>
                <a:ahLst/>
                <a:cxnLst>
                  <a:cxn ang="0">
                    <a:pos x="24" y="609"/>
                  </a:cxn>
                  <a:cxn ang="0">
                    <a:pos x="0" y="609"/>
                  </a:cxn>
                  <a:cxn ang="0">
                    <a:pos x="18" y="65"/>
                  </a:cxn>
                  <a:cxn ang="0">
                    <a:pos x="24" y="30"/>
                  </a:cxn>
                  <a:cxn ang="0">
                    <a:pos x="31" y="0"/>
                  </a:cxn>
                  <a:cxn ang="0">
                    <a:pos x="36" y="37"/>
                  </a:cxn>
                  <a:cxn ang="0">
                    <a:pos x="41" y="66"/>
                  </a:cxn>
                  <a:cxn ang="0">
                    <a:pos x="24" y="609"/>
                  </a:cxn>
                </a:cxnLst>
                <a:rect l="0" t="0" r="r" b="b"/>
                <a:pathLst>
                  <a:path w="47" h="609">
                    <a:moveTo>
                      <a:pt x="24" y="609"/>
                    </a:moveTo>
                    <a:cubicBezTo>
                      <a:pt x="0" y="609"/>
                      <a:pt x="0" y="609"/>
                      <a:pt x="0" y="609"/>
                    </a:cubicBezTo>
                    <a:cubicBezTo>
                      <a:pt x="0" y="430"/>
                      <a:pt x="10" y="86"/>
                      <a:pt x="18" y="65"/>
                    </a:cubicBezTo>
                    <a:cubicBezTo>
                      <a:pt x="24" y="30"/>
                      <a:pt x="24" y="30"/>
                      <a:pt x="24" y="3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6" y="37"/>
                      <a:pt x="36" y="37"/>
                      <a:pt x="36" y="37"/>
                    </a:cubicBezTo>
                    <a:cubicBezTo>
                      <a:pt x="41" y="66"/>
                      <a:pt x="41" y="66"/>
                      <a:pt x="41" y="66"/>
                    </a:cubicBezTo>
                    <a:cubicBezTo>
                      <a:pt x="47" y="83"/>
                      <a:pt x="24" y="430"/>
                      <a:pt x="24" y="60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  <p:sp>
            <p:nvSpPr>
              <p:cNvPr id="32" name="Freeform 21">
                <a:extLst>
                  <a:ext uri="{FF2B5EF4-FFF2-40B4-BE49-F238E27FC236}">
                    <a16:creationId xmlns:a16="http://schemas.microsoft.com/office/drawing/2014/main" xmlns="" id="{047A65C9-1040-4494-ADF5-21F3B73588E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59888" y="3586163"/>
                <a:ext cx="138113" cy="1031875"/>
              </a:xfrm>
              <a:custGeom>
                <a:avLst/>
                <a:gdLst/>
                <a:ahLst/>
                <a:cxnLst>
                  <a:cxn ang="0">
                    <a:pos x="24" y="609"/>
                  </a:cxn>
                  <a:cxn ang="0">
                    <a:pos x="0" y="609"/>
                  </a:cxn>
                  <a:cxn ang="0">
                    <a:pos x="54" y="64"/>
                  </a:cxn>
                  <a:cxn ang="0">
                    <a:pos x="61" y="23"/>
                  </a:cxn>
                  <a:cxn ang="0">
                    <a:pos x="69" y="0"/>
                  </a:cxn>
                  <a:cxn ang="0">
                    <a:pos x="73" y="45"/>
                  </a:cxn>
                  <a:cxn ang="0">
                    <a:pos x="77" y="67"/>
                  </a:cxn>
                  <a:cxn ang="0">
                    <a:pos x="24" y="609"/>
                  </a:cxn>
                </a:cxnLst>
                <a:rect l="0" t="0" r="r" b="b"/>
                <a:pathLst>
                  <a:path w="81" h="609">
                    <a:moveTo>
                      <a:pt x="24" y="609"/>
                    </a:moveTo>
                    <a:cubicBezTo>
                      <a:pt x="0" y="609"/>
                      <a:pt x="0" y="609"/>
                      <a:pt x="0" y="609"/>
                    </a:cubicBezTo>
                    <a:cubicBezTo>
                      <a:pt x="0" y="430"/>
                      <a:pt x="44" y="88"/>
                      <a:pt x="54" y="64"/>
                    </a:cubicBezTo>
                    <a:cubicBezTo>
                      <a:pt x="61" y="23"/>
                      <a:pt x="61" y="23"/>
                      <a:pt x="61" y="23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73" y="45"/>
                      <a:pt x="73" y="45"/>
                      <a:pt x="73" y="45"/>
                    </a:cubicBezTo>
                    <a:cubicBezTo>
                      <a:pt x="77" y="67"/>
                      <a:pt x="77" y="67"/>
                      <a:pt x="77" y="67"/>
                    </a:cubicBezTo>
                    <a:cubicBezTo>
                      <a:pt x="81" y="81"/>
                      <a:pt x="24" y="429"/>
                      <a:pt x="24" y="60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  <p:sp>
            <p:nvSpPr>
              <p:cNvPr id="33" name="Freeform 22">
                <a:extLst>
                  <a:ext uri="{FF2B5EF4-FFF2-40B4-BE49-F238E27FC236}">
                    <a16:creationId xmlns:a16="http://schemas.microsoft.com/office/drawing/2014/main" xmlns="" id="{1351ED62-B6E0-4C24-BA84-01F719591A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51963" y="3586163"/>
                <a:ext cx="193675" cy="1031875"/>
              </a:xfrm>
              <a:custGeom>
                <a:avLst/>
                <a:gdLst/>
                <a:ahLst/>
                <a:cxnLst>
                  <a:cxn ang="0">
                    <a:pos x="24" y="609"/>
                  </a:cxn>
                  <a:cxn ang="0">
                    <a:pos x="0" y="609"/>
                  </a:cxn>
                  <a:cxn ang="0">
                    <a:pos x="89" y="63"/>
                  </a:cxn>
                  <a:cxn ang="0">
                    <a:pos x="98" y="15"/>
                  </a:cxn>
                  <a:cxn ang="0">
                    <a:pos x="107" y="0"/>
                  </a:cxn>
                  <a:cxn ang="0">
                    <a:pos x="110" y="52"/>
                  </a:cxn>
                  <a:cxn ang="0">
                    <a:pos x="112" y="68"/>
                  </a:cxn>
                  <a:cxn ang="0">
                    <a:pos x="24" y="609"/>
                  </a:cxn>
                </a:cxnLst>
                <a:rect l="0" t="0" r="r" b="b"/>
                <a:pathLst>
                  <a:path w="114" h="609">
                    <a:moveTo>
                      <a:pt x="24" y="609"/>
                    </a:moveTo>
                    <a:cubicBezTo>
                      <a:pt x="0" y="609"/>
                      <a:pt x="0" y="609"/>
                      <a:pt x="0" y="609"/>
                    </a:cubicBezTo>
                    <a:cubicBezTo>
                      <a:pt x="0" y="430"/>
                      <a:pt x="77" y="91"/>
                      <a:pt x="89" y="63"/>
                    </a:cubicBezTo>
                    <a:cubicBezTo>
                      <a:pt x="98" y="15"/>
                      <a:pt x="98" y="15"/>
                      <a:pt x="98" y="15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110" y="52"/>
                      <a:pt x="110" y="52"/>
                      <a:pt x="110" y="52"/>
                    </a:cubicBezTo>
                    <a:cubicBezTo>
                      <a:pt x="112" y="68"/>
                      <a:pt x="112" y="68"/>
                      <a:pt x="112" y="68"/>
                    </a:cubicBezTo>
                    <a:cubicBezTo>
                      <a:pt x="114" y="78"/>
                      <a:pt x="24" y="429"/>
                      <a:pt x="24" y="60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  <p:sp>
            <p:nvSpPr>
              <p:cNvPr id="34" name="Freeform 23">
                <a:extLst>
                  <a:ext uri="{FF2B5EF4-FFF2-40B4-BE49-F238E27FC236}">
                    <a16:creationId xmlns:a16="http://schemas.microsoft.com/office/drawing/2014/main" xmlns="" id="{55C2CE21-0C4F-4CB5-B84E-82B771845D2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440863" y="3586163"/>
                <a:ext cx="252413" cy="1031875"/>
              </a:xfrm>
              <a:custGeom>
                <a:avLst/>
                <a:gdLst/>
                <a:ahLst/>
                <a:cxnLst>
                  <a:cxn ang="0">
                    <a:pos x="24" y="609"/>
                  </a:cxn>
                  <a:cxn ang="0">
                    <a:pos x="0" y="609"/>
                  </a:cxn>
                  <a:cxn ang="0">
                    <a:pos x="125" y="62"/>
                  </a:cxn>
                  <a:cxn ang="0">
                    <a:pos x="136" y="8"/>
                  </a:cxn>
                  <a:cxn ang="0">
                    <a:pos x="146" y="0"/>
                  </a:cxn>
                  <a:cxn ang="0">
                    <a:pos x="148" y="59"/>
                  </a:cxn>
                  <a:cxn ang="0">
                    <a:pos x="148" y="68"/>
                  </a:cxn>
                  <a:cxn ang="0">
                    <a:pos x="24" y="609"/>
                  </a:cxn>
                </a:cxnLst>
                <a:rect l="0" t="0" r="r" b="b"/>
                <a:pathLst>
                  <a:path w="148" h="609">
                    <a:moveTo>
                      <a:pt x="24" y="609"/>
                    </a:moveTo>
                    <a:cubicBezTo>
                      <a:pt x="0" y="609"/>
                      <a:pt x="0" y="609"/>
                      <a:pt x="0" y="609"/>
                    </a:cubicBezTo>
                    <a:cubicBezTo>
                      <a:pt x="0" y="430"/>
                      <a:pt x="112" y="93"/>
                      <a:pt x="125" y="62"/>
                    </a:cubicBezTo>
                    <a:cubicBezTo>
                      <a:pt x="136" y="8"/>
                      <a:pt x="136" y="8"/>
                      <a:pt x="136" y="8"/>
                    </a:cubicBezTo>
                    <a:cubicBezTo>
                      <a:pt x="146" y="0"/>
                      <a:pt x="146" y="0"/>
                      <a:pt x="146" y="0"/>
                    </a:cubicBezTo>
                    <a:cubicBezTo>
                      <a:pt x="148" y="59"/>
                      <a:pt x="148" y="59"/>
                      <a:pt x="148" y="59"/>
                    </a:cubicBezTo>
                    <a:cubicBezTo>
                      <a:pt x="148" y="68"/>
                      <a:pt x="148" y="68"/>
                      <a:pt x="148" y="68"/>
                    </a:cubicBezTo>
                    <a:cubicBezTo>
                      <a:pt x="148" y="75"/>
                      <a:pt x="24" y="429"/>
                      <a:pt x="24" y="60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  <p:sp>
            <p:nvSpPr>
              <p:cNvPr id="35" name="Freeform 24">
                <a:extLst>
                  <a:ext uri="{FF2B5EF4-FFF2-40B4-BE49-F238E27FC236}">
                    <a16:creationId xmlns:a16="http://schemas.microsoft.com/office/drawing/2014/main" xmlns="" id="{C9EE71E3-CDF6-45FA-836E-DD984466450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532938" y="3586163"/>
                <a:ext cx="312738" cy="1031875"/>
              </a:xfrm>
              <a:custGeom>
                <a:avLst/>
                <a:gdLst/>
                <a:ahLst/>
                <a:cxnLst>
                  <a:cxn ang="0">
                    <a:pos x="24" y="609"/>
                  </a:cxn>
                  <a:cxn ang="0">
                    <a:pos x="0" y="609"/>
                  </a:cxn>
                  <a:cxn ang="0">
                    <a:pos x="160" y="62"/>
                  </a:cxn>
                  <a:cxn ang="0">
                    <a:pos x="172" y="0"/>
                  </a:cxn>
                  <a:cxn ang="0">
                    <a:pos x="184" y="0"/>
                  </a:cxn>
                  <a:cxn ang="0">
                    <a:pos x="184" y="67"/>
                  </a:cxn>
                  <a:cxn ang="0">
                    <a:pos x="183" y="69"/>
                  </a:cxn>
                  <a:cxn ang="0">
                    <a:pos x="24" y="609"/>
                  </a:cxn>
                </a:cxnLst>
                <a:rect l="0" t="0" r="r" b="b"/>
                <a:pathLst>
                  <a:path w="184" h="609">
                    <a:moveTo>
                      <a:pt x="24" y="609"/>
                    </a:moveTo>
                    <a:cubicBezTo>
                      <a:pt x="0" y="609"/>
                      <a:pt x="0" y="609"/>
                      <a:pt x="0" y="609"/>
                    </a:cubicBezTo>
                    <a:cubicBezTo>
                      <a:pt x="0" y="430"/>
                      <a:pt x="145" y="96"/>
                      <a:pt x="160" y="62"/>
                    </a:cubicBezTo>
                    <a:cubicBezTo>
                      <a:pt x="172" y="0"/>
                      <a:pt x="172" y="0"/>
                      <a:pt x="172" y="0"/>
                    </a:cubicBezTo>
                    <a:cubicBezTo>
                      <a:pt x="184" y="0"/>
                      <a:pt x="184" y="0"/>
                      <a:pt x="184" y="0"/>
                    </a:cubicBezTo>
                    <a:cubicBezTo>
                      <a:pt x="184" y="67"/>
                      <a:pt x="184" y="67"/>
                      <a:pt x="184" y="67"/>
                    </a:cubicBezTo>
                    <a:cubicBezTo>
                      <a:pt x="183" y="69"/>
                      <a:pt x="183" y="69"/>
                      <a:pt x="183" y="69"/>
                    </a:cubicBezTo>
                    <a:cubicBezTo>
                      <a:pt x="181" y="73"/>
                      <a:pt x="24" y="429"/>
                      <a:pt x="24" y="60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600" dirty="0"/>
              </a:p>
            </p:txBody>
          </p:sp>
        </p:grpSp>
      </p:grpSp>
      <p:sp>
        <p:nvSpPr>
          <p:cNvPr id="36" name="TextBox 8">
            <a:extLst>
              <a:ext uri="{FF2B5EF4-FFF2-40B4-BE49-F238E27FC236}">
                <a16:creationId xmlns:a16="http://schemas.microsoft.com/office/drawing/2014/main" xmlns="" id="{AFDB6DF8-71ED-473E-8346-129C213747E5}"/>
              </a:ext>
            </a:extLst>
          </p:cNvPr>
          <p:cNvSpPr txBox="1"/>
          <p:nvPr/>
        </p:nvSpPr>
        <p:spPr bwMode="gray">
          <a:xfrm>
            <a:off x="8089003" y="2946969"/>
            <a:ext cx="136090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hu-HU" sz="1600" dirty="0" smtClean="0"/>
              <a:t>Üzleti </a:t>
            </a:r>
            <a:r>
              <a:rPr lang="hu-HU" sz="1600" dirty="0"/>
              <a:t>érték</a:t>
            </a:r>
            <a:endParaRPr lang="en-US" sz="1600" dirty="0"/>
          </a:p>
        </p:txBody>
      </p:sp>
      <p:grpSp>
        <p:nvGrpSpPr>
          <p:cNvPr id="130" name="Csoportba foglalás 129"/>
          <p:cNvGrpSpPr/>
          <p:nvPr/>
        </p:nvGrpSpPr>
        <p:grpSpPr>
          <a:xfrm>
            <a:off x="6591726" y="1902225"/>
            <a:ext cx="4134248" cy="818793"/>
            <a:chOff x="6591726" y="1902225"/>
            <a:chExt cx="4134248" cy="818793"/>
          </a:xfrm>
        </p:grpSpPr>
        <p:sp>
          <p:nvSpPr>
            <p:cNvPr id="39" name="TextBox 12">
              <a:extLst>
                <a:ext uri="{FF2B5EF4-FFF2-40B4-BE49-F238E27FC236}">
                  <a16:creationId xmlns:a16="http://schemas.microsoft.com/office/drawing/2014/main" xmlns="" id="{0BE8C4B1-7061-474F-8ECC-19C5522FC4E6}"/>
                </a:ext>
              </a:extLst>
            </p:cNvPr>
            <p:cNvSpPr txBox="1"/>
            <p:nvPr/>
          </p:nvSpPr>
          <p:spPr bwMode="gray">
            <a:xfrm>
              <a:off x="7331711" y="1992335"/>
              <a:ext cx="1330266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hu-HU" sz="1600" dirty="0" smtClean="0"/>
                <a:t>Versenyelőny</a:t>
              </a:r>
              <a:endParaRPr lang="en-US" sz="1600" dirty="0"/>
            </a:p>
          </p:txBody>
        </p:sp>
        <p:sp>
          <p:nvSpPr>
            <p:cNvPr id="40" name="TextBox 13">
              <a:extLst>
                <a:ext uri="{FF2B5EF4-FFF2-40B4-BE49-F238E27FC236}">
                  <a16:creationId xmlns:a16="http://schemas.microsoft.com/office/drawing/2014/main" xmlns="" id="{721AC111-4498-445B-8066-DC344E8A5F23}"/>
                </a:ext>
              </a:extLst>
            </p:cNvPr>
            <p:cNvSpPr txBox="1"/>
            <p:nvPr/>
          </p:nvSpPr>
          <p:spPr bwMode="gray">
            <a:xfrm>
              <a:off x="8883224" y="1902225"/>
              <a:ext cx="1216620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 err="1" smtClean="0"/>
                <a:t>Kiválóság</a:t>
              </a:r>
              <a:endParaRPr lang="en-US" sz="1600" dirty="0"/>
            </a:p>
          </p:txBody>
        </p:sp>
        <p:sp>
          <p:nvSpPr>
            <p:cNvPr id="41" name="TextBox 14">
              <a:extLst>
                <a:ext uri="{FF2B5EF4-FFF2-40B4-BE49-F238E27FC236}">
                  <a16:creationId xmlns:a16="http://schemas.microsoft.com/office/drawing/2014/main" xmlns="" id="{22A20168-B200-40B8-B2CF-EDD633072CE0}"/>
                </a:ext>
              </a:extLst>
            </p:cNvPr>
            <p:cNvSpPr txBox="1"/>
            <p:nvPr/>
          </p:nvSpPr>
          <p:spPr bwMode="gray">
            <a:xfrm>
              <a:off x="6591726" y="2447403"/>
              <a:ext cx="123250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hu-HU" sz="1600" dirty="0"/>
                <a:t>N</a:t>
              </a:r>
              <a:r>
                <a:rPr lang="hu-HU" sz="1600" dirty="0" smtClean="0"/>
                <a:t>övekedés</a:t>
              </a:r>
              <a:endParaRPr lang="en-US" sz="1600" dirty="0"/>
            </a:p>
          </p:txBody>
        </p:sp>
        <p:sp>
          <p:nvSpPr>
            <p:cNvPr id="42" name="TextBox 15">
              <a:extLst>
                <a:ext uri="{FF2B5EF4-FFF2-40B4-BE49-F238E27FC236}">
                  <a16:creationId xmlns:a16="http://schemas.microsoft.com/office/drawing/2014/main" xmlns="" id="{1450E68A-C57C-443F-BC6A-40BE03D2C4EC}"/>
                </a:ext>
              </a:extLst>
            </p:cNvPr>
            <p:cNvSpPr txBox="1"/>
            <p:nvPr/>
          </p:nvSpPr>
          <p:spPr bwMode="gray">
            <a:xfrm>
              <a:off x="9796359" y="2474797"/>
              <a:ext cx="929615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hu-HU" sz="1600" dirty="0" smtClean="0"/>
                <a:t>Túlélés</a:t>
              </a:r>
              <a:endParaRPr lang="en-US" sz="1600" dirty="0"/>
            </a:p>
          </p:txBody>
        </p:sp>
      </p:grpSp>
      <p:grpSp>
        <p:nvGrpSpPr>
          <p:cNvPr id="129" name="Csoportba foglalás 128"/>
          <p:cNvGrpSpPr/>
          <p:nvPr/>
        </p:nvGrpSpPr>
        <p:grpSpPr>
          <a:xfrm>
            <a:off x="7773088" y="2350715"/>
            <a:ext cx="1942202" cy="384861"/>
            <a:chOff x="7773088" y="2350715"/>
            <a:chExt cx="1942202" cy="384861"/>
          </a:xfrm>
        </p:grpSpPr>
        <p:cxnSp>
          <p:nvCxnSpPr>
            <p:cNvPr id="37" name="Straight Connector 10">
              <a:extLst>
                <a:ext uri="{FF2B5EF4-FFF2-40B4-BE49-F238E27FC236}">
                  <a16:creationId xmlns:a16="http://schemas.microsoft.com/office/drawing/2014/main" xmlns="" id="{B63DE8DC-170E-4992-801F-3952FFF805DA}"/>
                </a:ext>
              </a:extLst>
            </p:cNvPr>
            <p:cNvCxnSpPr/>
            <p:nvPr/>
          </p:nvCxnSpPr>
          <p:spPr bwMode="gray">
            <a:xfrm flipH="1">
              <a:off x="9223027" y="2350715"/>
              <a:ext cx="134254" cy="170054"/>
            </a:xfrm>
            <a:prstGeom prst="line">
              <a:avLst/>
            </a:prstGeom>
            <a:solidFill>
              <a:srgbClr val="00529B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lg" len="lg"/>
            </a:ln>
            <a:effectLst/>
          </p:spPr>
        </p:cxnSp>
        <p:cxnSp>
          <p:nvCxnSpPr>
            <p:cNvPr id="38" name="Straight Connector 11">
              <a:extLst>
                <a:ext uri="{FF2B5EF4-FFF2-40B4-BE49-F238E27FC236}">
                  <a16:creationId xmlns:a16="http://schemas.microsoft.com/office/drawing/2014/main" xmlns="" id="{8C14B7C5-394E-4BB3-8B2B-B8104C66D6E9}"/>
                </a:ext>
              </a:extLst>
            </p:cNvPr>
            <p:cNvCxnSpPr/>
            <p:nvPr/>
          </p:nvCxnSpPr>
          <p:spPr bwMode="gray">
            <a:xfrm flipH="1">
              <a:off x="9491534" y="2628174"/>
              <a:ext cx="223756" cy="107402"/>
            </a:xfrm>
            <a:prstGeom prst="line">
              <a:avLst/>
            </a:prstGeom>
            <a:solidFill>
              <a:srgbClr val="00529B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lg" len="lg"/>
            </a:ln>
            <a:effectLst/>
          </p:spPr>
        </p:cxnSp>
        <p:cxnSp>
          <p:nvCxnSpPr>
            <p:cNvPr id="43" name="Straight Connector 16">
              <a:extLst>
                <a:ext uri="{FF2B5EF4-FFF2-40B4-BE49-F238E27FC236}">
                  <a16:creationId xmlns:a16="http://schemas.microsoft.com/office/drawing/2014/main" xmlns="" id="{4A582D76-1BA6-4069-B279-7DF06854966E}"/>
                </a:ext>
              </a:extLst>
            </p:cNvPr>
            <p:cNvCxnSpPr/>
            <p:nvPr/>
          </p:nvCxnSpPr>
          <p:spPr bwMode="gray">
            <a:xfrm>
              <a:off x="7773088" y="2628174"/>
              <a:ext cx="223756" cy="107402"/>
            </a:xfrm>
            <a:prstGeom prst="line">
              <a:avLst/>
            </a:prstGeom>
            <a:solidFill>
              <a:srgbClr val="00529B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lg" len="lg"/>
            </a:ln>
            <a:effectLst/>
          </p:spPr>
        </p:cxnSp>
        <p:cxnSp>
          <p:nvCxnSpPr>
            <p:cNvPr id="44" name="Straight Connector 17">
              <a:extLst>
                <a:ext uri="{FF2B5EF4-FFF2-40B4-BE49-F238E27FC236}">
                  <a16:creationId xmlns:a16="http://schemas.microsoft.com/office/drawing/2014/main" xmlns="" id="{DAA2B93D-BD10-4A1F-9F58-C894AE61FBF4}"/>
                </a:ext>
              </a:extLst>
            </p:cNvPr>
            <p:cNvCxnSpPr/>
            <p:nvPr/>
          </p:nvCxnSpPr>
          <p:spPr bwMode="gray">
            <a:xfrm>
              <a:off x="8148996" y="2350715"/>
              <a:ext cx="134254" cy="170054"/>
            </a:xfrm>
            <a:prstGeom prst="line">
              <a:avLst/>
            </a:prstGeom>
            <a:solidFill>
              <a:srgbClr val="00529B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lg" len="lg"/>
            </a:ln>
            <a:effectLst/>
          </p:spPr>
        </p:cxnSp>
      </p:grpSp>
      <p:sp>
        <p:nvSpPr>
          <p:cNvPr id="45" name="Rounded Rectangle 18">
            <a:extLst>
              <a:ext uri="{FF2B5EF4-FFF2-40B4-BE49-F238E27FC236}">
                <a16:creationId xmlns:a16="http://schemas.microsoft.com/office/drawing/2014/main" xmlns="" id="{CCFB6A22-BD33-47E0-99B5-638722C3DDD7}"/>
              </a:ext>
            </a:extLst>
          </p:cNvPr>
          <p:cNvSpPr/>
          <p:nvPr/>
        </p:nvSpPr>
        <p:spPr bwMode="gray">
          <a:xfrm>
            <a:off x="3617906" y="5631262"/>
            <a:ext cx="527795" cy="147036"/>
          </a:xfrm>
          <a:prstGeom prst="roundRect">
            <a:avLst/>
          </a:prstGeom>
          <a:solidFill>
            <a:srgbClr val="96969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600" dirty="0"/>
          </a:p>
        </p:txBody>
      </p:sp>
      <p:sp>
        <p:nvSpPr>
          <p:cNvPr id="46" name="Rectangle 19">
            <a:extLst>
              <a:ext uri="{FF2B5EF4-FFF2-40B4-BE49-F238E27FC236}">
                <a16:creationId xmlns:a16="http://schemas.microsoft.com/office/drawing/2014/main" xmlns="" id="{AFE5453A-10F4-41D5-8F3C-800F0B8255F2}"/>
              </a:ext>
            </a:extLst>
          </p:cNvPr>
          <p:cNvSpPr/>
          <p:nvPr/>
        </p:nvSpPr>
        <p:spPr bwMode="gray">
          <a:xfrm>
            <a:off x="2815050" y="2802314"/>
            <a:ext cx="2263407" cy="2872878"/>
          </a:xfrm>
          <a:prstGeom prst="rect">
            <a:avLst/>
          </a:prstGeom>
          <a:solidFill>
            <a:srgbClr val="E0E2DB"/>
          </a:solidFill>
          <a:ln w="19050" cap="flat" cmpd="sng" algn="ctr">
            <a:solidFill>
              <a:srgbClr val="96969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</a:pPr>
            <a:endParaRPr lang="en-US" sz="1600" dirty="0"/>
          </a:p>
        </p:txBody>
      </p:sp>
      <p:sp>
        <p:nvSpPr>
          <p:cNvPr id="47" name="TextBox 20">
            <a:extLst>
              <a:ext uri="{FF2B5EF4-FFF2-40B4-BE49-F238E27FC236}">
                <a16:creationId xmlns:a16="http://schemas.microsoft.com/office/drawing/2014/main" xmlns="" id="{4B197BAF-3B8C-48DB-9963-1E7A753332A9}"/>
              </a:ext>
            </a:extLst>
          </p:cNvPr>
          <p:cNvSpPr txBox="1"/>
          <p:nvPr/>
        </p:nvSpPr>
        <p:spPr bwMode="gray">
          <a:xfrm>
            <a:off x="1488368" y="3237776"/>
            <a:ext cx="1264443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/>
              <a:t>Inkrementális</a:t>
            </a:r>
            <a:endParaRPr lang="en-US" sz="1600" dirty="0"/>
          </a:p>
        </p:txBody>
      </p:sp>
      <p:sp>
        <p:nvSpPr>
          <p:cNvPr id="48" name="TextBox 21">
            <a:extLst>
              <a:ext uri="{FF2B5EF4-FFF2-40B4-BE49-F238E27FC236}">
                <a16:creationId xmlns:a16="http://schemas.microsoft.com/office/drawing/2014/main" xmlns="" id="{2BC1D3E4-ABDF-4DB2-A5E0-75A10568BDDE}"/>
              </a:ext>
            </a:extLst>
          </p:cNvPr>
          <p:cNvSpPr txBox="1"/>
          <p:nvPr/>
        </p:nvSpPr>
        <p:spPr bwMode="gray">
          <a:xfrm>
            <a:off x="5138283" y="3237776"/>
            <a:ext cx="1439782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/>
              <a:t>Diszruptív</a:t>
            </a:r>
            <a:endParaRPr lang="en-US" sz="1600" dirty="0"/>
          </a:p>
        </p:txBody>
      </p:sp>
      <p:grpSp>
        <p:nvGrpSpPr>
          <p:cNvPr id="49" name="Group 155">
            <a:extLst>
              <a:ext uri="{FF2B5EF4-FFF2-40B4-BE49-F238E27FC236}">
                <a16:creationId xmlns:a16="http://schemas.microsoft.com/office/drawing/2014/main" xmlns="" id="{14E530E6-545E-43F5-AF81-C04CD25A66E8}"/>
              </a:ext>
            </a:extLst>
          </p:cNvPr>
          <p:cNvGrpSpPr/>
          <p:nvPr/>
        </p:nvGrpSpPr>
        <p:grpSpPr bwMode="gray">
          <a:xfrm>
            <a:off x="2995027" y="3170888"/>
            <a:ext cx="1866936" cy="396773"/>
            <a:chOff x="2620005" y="2414992"/>
            <a:chExt cx="804300" cy="281577"/>
          </a:xfrm>
        </p:grpSpPr>
        <p:sp>
          <p:nvSpPr>
            <p:cNvPr id="50" name="Rectangle 94">
              <a:extLst>
                <a:ext uri="{FF2B5EF4-FFF2-40B4-BE49-F238E27FC236}">
                  <a16:creationId xmlns:a16="http://schemas.microsoft.com/office/drawing/2014/main" xmlns="" id="{AF514A15-0115-470D-AB2A-1EFFA28A2826}"/>
                </a:ext>
              </a:extLst>
            </p:cNvPr>
            <p:cNvSpPr/>
            <p:nvPr/>
          </p:nvSpPr>
          <p:spPr bwMode="gray">
            <a:xfrm>
              <a:off x="2620005" y="2545237"/>
              <a:ext cx="804299" cy="30488"/>
            </a:xfrm>
            <a:prstGeom prst="rect">
              <a:avLst/>
            </a:prstGeom>
            <a:solidFill>
              <a:schemeClr val="tx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sz="1600" dirty="0"/>
            </a:p>
          </p:txBody>
        </p:sp>
        <p:sp>
          <p:nvSpPr>
            <p:cNvPr id="51" name="L-Shape 95">
              <a:extLst>
                <a:ext uri="{FF2B5EF4-FFF2-40B4-BE49-F238E27FC236}">
                  <a16:creationId xmlns:a16="http://schemas.microsoft.com/office/drawing/2014/main" xmlns="" id="{568DFDA4-4A21-4DCF-911E-7C5D0DCC1B37}"/>
                </a:ext>
              </a:extLst>
            </p:cNvPr>
            <p:cNvSpPr/>
            <p:nvPr/>
          </p:nvSpPr>
          <p:spPr bwMode="gray">
            <a:xfrm>
              <a:off x="2620006" y="2545237"/>
              <a:ext cx="804299" cy="30488"/>
            </a:xfrm>
            <a:prstGeom prst="corner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sz="1600" dirty="0"/>
            </a:p>
          </p:txBody>
        </p:sp>
        <p:grpSp>
          <p:nvGrpSpPr>
            <p:cNvPr id="52" name="Group 56">
              <a:extLst>
                <a:ext uri="{FF2B5EF4-FFF2-40B4-BE49-F238E27FC236}">
                  <a16:creationId xmlns:a16="http://schemas.microsoft.com/office/drawing/2014/main" xmlns="" id="{E965D9F7-CEC2-40A7-A9A4-C45EA262ACF2}"/>
                </a:ext>
              </a:extLst>
            </p:cNvPr>
            <p:cNvGrpSpPr/>
            <p:nvPr/>
          </p:nvGrpSpPr>
          <p:grpSpPr bwMode="gray">
            <a:xfrm>
              <a:off x="2720542" y="2414992"/>
              <a:ext cx="603226" cy="94293"/>
              <a:chOff x="1827179" y="2290713"/>
              <a:chExt cx="904596" cy="141402"/>
            </a:xfrm>
          </p:grpSpPr>
          <p:cxnSp>
            <p:nvCxnSpPr>
              <p:cNvPr id="61" name="Straight Connector 105">
                <a:extLst>
                  <a:ext uri="{FF2B5EF4-FFF2-40B4-BE49-F238E27FC236}">
                    <a16:creationId xmlns:a16="http://schemas.microsoft.com/office/drawing/2014/main" xmlns="" id="{281F3D31-B6D5-49CB-A0AA-30BAD927ED45}"/>
                  </a:ext>
                </a:extLst>
              </p:cNvPr>
              <p:cNvCxnSpPr/>
              <p:nvPr/>
            </p:nvCxnSpPr>
            <p:spPr bwMode="gray">
              <a:xfrm>
                <a:off x="1827179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62" name="Straight Connector 106">
                <a:extLst>
                  <a:ext uri="{FF2B5EF4-FFF2-40B4-BE49-F238E27FC236}">
                    <a16:creationId xmlns:a16="http://schemas.microsoft.com/office/drawing/2014/main" xmlns="" id="{6B966F32-6FD6-4486-A217-E8C1EC08BAA6}"/>
                  </a:ext>
                </a:extLst>
              </p:cNvPr>
              <p:cNvCxnSpPr/>
              <p:nvPr/>
            </p:nvCxnSpPr>
            <p:spPr bwMode="gray">
              <a:xfrm>
                <a:off x="1977945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63" name="Straight Connector 107">
                <a:extLst>
                  <a:ext uri="{FF2B5EF4-FFF2-40B4-BE49-F238E27FC236}">
                    <a16:creationId xmlns:a16="http://schemas.microsoft.com/office/drawing/2014/main" xmlns="" id="{095F3606-5A2A-4F21-9C28-30D975BBF628}"/>
                  </a:ext>
                </a:extLst>
              </p:cNvPr>
              <p:cNvCxnSpPr/>
              <p:nvPr/>
            </p:nvCxnSpPr>
            <p:spPr bwMode="gray">
              <a:xfrm>
                <a:off x="2128711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64" name="Straight Connector 108">
                <a:extLst>
                  <a:ext uri="{FF2B5EF4-FFF2-40B4-BE49-F238E27FC236}">
                    <a16:creationId xmlns:a16="http://schemas.microsoft.com/office/drawing/2014/main" xmlns="" id="{71EC4A1F-136C-4DEE-9229-8E381D95D278}"/>
                  </a:ext>
                </a:extLst>
              </p:cNvPr>
              <p:cNvCxnSpPr/>
              <p:nvPr/>
            </p:nvCxnSpPr>
            <p:spPr bwMode="gray">
              <a:xfrm>
                <a:off x="2279477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65" name="Straight Connector 109">
                <a:extLst>
                  <a:ext uri="{FF2B5EF4-FFF2-40B4-BE49-F238E27FC236}">
                    <a16:creationId xmlns:a16="http://schemas.microsoft.com/office/drawing/2014/main" xmlns="" id="{B0095CE6-A720-4F70-B7E8-6876330ABEC1}"/>
                  </a:ext>
                </a:extLst>
              </p:cNvPr>
              <p:cNvCxnSpPr/>
              <p:nvPr/>
            </p:nvCxnSpPr>
            <p:spPr bwMode="gray">
              <a:xfrm>
                <a:off x="2430243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66" name="Straight Connector 110">
                <a:extLst>
                  <a:ext uri="{FF2B5EF4-FFF2-40B4-BE49-F238E27FC236}">
                    <a16:creationId xmlns:a16="http://schemas.microsoft.com/office/drawing/2014/main" xmlns="" id="{F10C3FDD-44D4-4579-98CC-56E375FDD616}"/>
                  </a:ext>
                </a:extLst>
              </p:cNvPr>
              <p:cNvCxnSpPr/>
              <p:nvPr/>
            </p:nvCxnSpPr>
            <p:spPr bwMode="gray">
              <a:xfrm>
                <a:off x="2581009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67" name="Straight Connector 111">
                <a:extLst>
                  <a:ext uri="{FF2B5EF4-FFF2-40B4-BE49-F238E27FC236}">
                    <a16:creationId xmlns:a16="http://schemas.microsoft.com/office/drawing/2014/main" xmlns="" id="{1BF5EF3D-BBEB-46F0-BCB2-D4E39E7FFA4E}"/>
                  </a:ext>
                </a:extLst>
              </p:cNvPr>
              <p:cNvCxnSpPr/>
              <p:nvPr/>
            </p:nvCxnSpPr>
            <p:spPr bwMode="gray">
              <a:xfrm>
                <a:off x="2731775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</p:grpSp>
        <p:grpSp>
          <p:nvGrpSpPr>
            <p:cNvPr id="53" name="Group 57">
              <a:extLst>
                <a:ext uri="{FF2B5EF4-FFF2-40B4-BE49-F238E27FC236}">
                  <a16:creationId xmlns:a16="http://schemas.microsoft.com/office/drawing/2014/main" xmlns="" id="{E95E57A8-77AC-420C-B02D-5D5470AEB7E9}"/>
                </a:ext>
              </a:extLst>
            </p:cNvPr>
            <p:cNvGrpSpPr/>
            <p:nvPr/>
          </p:nvGrpSpPr>
          <p:grpSpPr bwMode="gray">
            <a:xfrm>
              <a:off x="2720540" y="2602276"/>
              <a:ext cx="603226" cy="94293"/>
              <a:chOff x="1827179" y="2290713"/>
              <a:chExt cx="904596" cy="141402"/>
            </a:xfrm>
          </p:grpSpPr>
          <p:cxnSp>
            <p:nvCxnSpPr>
              <p:cNvPr id="54" name="Straight Connector 58">
                <a:extLst>
                  <a:ext uri="{FF2B5EF4-FFF2-40B4-BE49-F238E27FC236}">
                    <a16:creationId xmlns:a16="http://schemas.microsoft.com/office/drawing/2014/main" xmlns="" id="{57CE459A-216C-4DBE-86CF-6083F25A0DA9}"/>
                  </a:ext>
                </a:extLst>
              </p:cNvPr>
              <p:cNvCxnSpPr/>
              <p:nvPr/>
            </p:nvCxnSpPr>
            <p:spPr bwMode="gray">
              <a:xfrm>
                <a:off x="1827179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55" name="Straight Connector 99">
                <a:extLst>
                  <a:ext uri="{FF2B5EF4-FFF2-40B4-BE49-F238E27FC236}">
                    <a16:creationId xmlns:a16="http://schemas.microsoft.com/office/drawing/2014/main" xmlns="" id="{399EDA56-D1B8-425D-BFDC-A52C66ADADA8}"/>
                  </a:ext>
                </a:extLst>
              </p:cNvPr>
              <p:cNvCxnSpPr/>
              <p:nvPr/>
            </p:nvCxnSpPr>
            <p:spPr bwMode="gray">
              <a:xfrm>
                <a:off x="1977945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56" name="Straight Connector 100">
                <a:extLst>
                  <a:ext uri="{FF2B5EF4-FFF2-40B4-BE49-F238E27FC236}">
                    <a16:creationId xmlns:a16="http://schemas.microsoft.com/office/drawing/2014/main" xmlns="" id="{ACE97C71-0F6C-40C4-905C-04911AFE9BD9}"/>
                  </a:ext>
                </a:extLst>
              </p:cNvPr>
              <p:cNvCxnSpPr/>
              <p:nvPr/>
            </p:nvCxnSpPr>
            <p:spPr bwMode="gray">
              <a:xfrm>
                <a:off x="2128711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57" name="Straight Connector 101">
                <a:extLst>
                  <a:ext uri="{FF2B5EF4-FFF2-40B4-BE49-F238E27FC236}">
                    <a16:creationId xmlns:a16="http://schemas.microsoft.com/office/drawing/2014/main" xmlns="" id="{B7205E92-A91F-4B1A-B968-9DF59CE279D9}"/>
                  </a:ext>
                </a:extLst>
              </p:cNvPr>
              <p:cNvCxnSpPr/>
              <p:nvPr/>
            </p:nvCxnSpPr>
            <p:spPr bwMode="gray">
              <a:xfrm>
                <a:off x="2279477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58" name="Straight Connector 102">
                <a:extLst>
                  <a:ext uri="{FF2B5EF4-FFF2-40B4-BE49-F238E27FC236}">
                    <a16:creationId xmlns:a16="http://schemas.microsoft.com/office/drawing/2014/main" xmlns="" id="{D626F2C3-5C4D-4082-8865-D07BD63CBF6C}"/>
                  </a:ext>
                </a:extLst>
              </p:cNvPr>
              <p:cNvCxnSpPr/>
              <p:nvPr/>
            </p:nvCxnSpPr>
            <p:spPr bwMode="gray">
              <a:xfrm>
                <a:off x="2430243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59" name="Straight Connector 103">
                <a:extLst>
                  <a:ext uri="{FF2B5EF4-FFF2-40B4-BE49-F238E27FC236}">
                    <a16:creationId xmlns:a16="http://schemas.microsoft.com/office/drawing/2014/main" xmlns="" id="{9F96ACEE-8196-45CE-9405-E1B835F61ED9}"/>
                  </a:ext>
                </a:extLst>
              </p:cNvPr>
              <p:cNvCxnSpPr/>
              <p:nvPr/>
            </p:nvCxnSpPr>
            <p:spPr bwMode="gray">
              <a:xfrm>
                <a:off x="2581009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60" name="Straight Connector 104">
                <a:extLst>
                  <a:ext uri="{FF2B5EF4-FFF2-40B4-BE49-F238E27FC236}">
                    <a16:creationId xmlns:a16="http://schemas.microsoft.com/office/drawing/2014/main" xmlns="" id="{FB5A2FD7-C8FD-48C8-AAB1-DAEEA0490335}"/>
                  </a:ext>
                </a:extLst>
              </p:cNvPr>
              <p:cNvCxnSpPr/>
              <p:nvPr/>
            </p:nvCxnSpPr>
            <p:spPr bwMode="gray">
              <a:xfrm>
                <a:off x="2731775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</p:grpSp>
      </p:grpSp>
      <p:sp>
        <p:nvSpPr>
          <p:cNvPr id="70" name="TextBox 25">
            <a:extLst>
              <a:ext uri="{FF2B5EF4-FFF2-40B4-BE49-F238E27FC236}">
                <a16:creationId xmlns:a16="http://schemas.microsoft.com/office/drawing/2014/main" xmlns="" id="{433E62ED-959F-4035-8234-C043FED23678}"/>
              </a:ext>
            </a:extLst>
          </p:cNvPr>
          <p:cNvSpPr txBox="1"/>
          <p:nvPr/>
        </p:nvSpPr>
        <p:spPr bwMode="gray">
          <a:xfrm>
            <a:off x="1184333" y="4129271"/>
            <a:ext cx="156848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1600" smtClean="0"/>
              <a:t>Kiszámíthatóság</a:t>
            </a:r>
            <a:endParaRPr lang="en-US" sz="1600" dirty="0"/>
          </a:p>
        </p:txBody>
      </p:sp>
      <p:sp>
        <p:nvSpPr>
          <p:cNvPr id="71" name="TextBox 26">
            <a:extLst>
              <a:ext uri="{FF2B5EF4-FFF2-40B4-BE49-F238E27FC236}">
                <a16:creationId xmlns:a16="http://schemas.microsoft.com/office/drawing/2014/main" xmlns="" id="{DAD0314C-9620-4ECE-90A1-81B43775418F}"/>
              </a:ext>
            </a:extLst>
          </p:cNvPr>
          <p:cNvSpPr txBox="1"/>
          <p:nvPr/>
        </p:nvSpPr>
        <p:spPr bwMode="gray">
          <a:xfrm>
            <a:off x="5138282" y="4132426"/>
            <a:ext cx="1664793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600" smtClean="0"/>
              <a:t>Kockázatvállalás</a:t>
            </a:r>
            <a:endParaRPr lang="en-US" sz="1600" dirty="0"/>
          </a:p>
        </p:txBody>
      </p:sp>
      <p:sp>
        <p:nvSpPr>
          <p:cNvPr id="72" name="TextBox 26">
            <a:extLst>
              <a:ext uri="{FF2B5EF4-FFF2-40B4-BE49-F238E27FC236}">
                <a16:creationId xmlns:a16="http://schemas.microsoft.com/office/drawing/2014/main" xmlns="" id="{77F39EFB-5438-43E7-A346-9D790FEC5055}"/>
              </a:ext>
            </a:extLst>
          </p:cNvPr>
          <p:cNvSpPr txBox="1"/>
          <p:nvPr/>
        </p:nvSpPr>
        <p:spPr bwMode="gray">
          <a:xfrm>
            <a:off x="1423974" y="5020769"/>
            <a:ext cx="132884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/>
              <a:t>Epizodikus</a:t>
            </a:r>
            <a:endParaRPr lang="en-US" sz="1600" dirty="0"/>
          </a:p>
        </p:txBody>
      </p:sp>
      <p:sp>
        <p:nvSpPr>
          <p:cNvPr id="73" name="TextBox 36">
            <a:extLst>
              <a:ext uri="{FF2B5EF4-FFF2-40B4-BE49-F238E27FC236}">
                <a16:creationId xmlns:a16="http://schemas.microsoft.com/office/drawing/2014/main" xmlns="" id="{C57CCE67-C19D-45A7-9122-5202BBE768BC}"/>
              </a:ext>
            </a:extLst>
          </p:cNvPr>
          <p:cNvSpPr txBox="1"/>
          <p:nvPr/>
        </p:nvSpPr>
        <p:spPr bwMode="gray">
          <a:xfrm>
            <a:off x="5138284" y="5027079"/>
            <a:ext cx="1259999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600" dirty="0" err="1" smtClean="0"/>
              <a:t>Folyamatos</a:t>
            </a:r>
            <a:endParaRPr lang="en-US" sz="1600" dirty="0"/>
          </a:p>
        </p:txBody>
      </p:sp>
      <p:grpSp>
        <p:nvGrpSpPr>
          <p:cNvPr id="74" name="Group 155">
            <a:extLst>
              <a:ext uri="{FF2B5EF4-FFF2-40B4-BE49-F238E27FC236}">
                <a16:creationId xmlns:a16="http://schemas.microsoft.com/office/drawing/2014/main" xmlns="" id="{8172590F-4A70-4740-9D74-C9A237204803}"/>
              </a:ext>
            </a:extLst>
          </p:cNvPr>
          <p:cNvGrpSpPr/>
          <p:nvPr/>
        </p:nvGrpSpPr>
        <p:grpSpPr bwMode="gray">
          <a:xfrm>
            <a:off x="3005156" y="4942429"/>
            <a:ext cx="1866936" cy="396773"/>
            <a:chOff x="2620005" y="2414992"/>
            <a:chExt cx="804300" cy="281577"/>
          </a:xfrm>
        </p:grpSpPr>
        <p:sp>
          <p:nvSpPr>
            <p:cNvPr id="75" name="Rectangle 138">
              <a:extLst>
                <a:ext uri="{FF2B5EF4-FFF2-40B4-BE49-F238E27FC236}">
                  <a16:creationId xmlns:a16="http://schemas.microsoft.com/office/drawing/2014/main" xmlns="" id="{6B716740-5714-4A27-9F60-C74F678B3CA1}"/>
                </a:ext>
              </a:extLst>
            </p:cNvPr>
            <p:cNvSpPr/>
            <p:nvPr/>
          </p:nvSpPr>
          <p:spPr bwMode="gray">
            <a:xfrm>
              <a:off x="2620005" y="2545237"/>
              <a:ext cx="804299" cy="30488"/>
            </a:xfrm>
            <a:prstGeom prst="rect">
              <a:avLst/>
            </a:prstGeom>
            <a:solidFill>
              <a:schemeClr val="tx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sz="1600" dirty="0"/>
            </a:p>
          </p:txBody>
        </p:sp>
        <p:sp>
          <p:nvSpPr>
            <p:cNvPr id="76" name="L-Shape 139">
              <a:extLst>
                <a:ext uri="{FF2B5EF4-FFF2-40B4-BE49-F238E27FC236}">
                  <a16:creationId xmlns:a16="http://schemas.microsoft.com/office/drawing/2014/main" xmlns="" id="{1964722C-8ACA-4793-9A3B-094CB5E0CB95}"/>
                </a:ext>
              </a:extLst>
            </p:cNvPr>
            <p:cNvSpPr/>
            <p:nvPr/>
          </p:nvSpPr>
          <p:spPr bwMode="gray">
            <a:xfrm>
              <a:off x="2620006" y="2545237"/>
              <a:ext cx="804299" cy="30488"/>
            </a:xfrm>
            <a:prstGeom prst="corner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sz="1600" dirty="0"/>
            </a:p>
          </p:txBody>
        </p:sp>
        <p:grpSp>
          <p:nvGrpSpPr>
            <p:cNvPr id="77" name="Group 56">
              <a:extLst>
                <a:ext uri="{FF2B5EF4-FFF2-40B4-BE49-F238E27FC236}">
                  <a16:creationId xmlns:a16="http://schemas.microsoft.com/office/drawing/2014/main" xmlns="" id="{A6AA021D-66FC-43C7-998A-ADB539627EEE}"/>
                </a:ext>
              </a:extLst>
            </p:cNvPr>
            <p:cNvGrpSpPr/>
            <p:nvPr/>
          </p:nvGrpSpPr>
          <p:grpSpPr bwMode="gray">
            <a:xfrm>
              <a:off x="2720542" y="2414992"/>
              <a:ext cx="603226" cy="94293"/>
              <a:chOff x="1827179" y="2290713"/>
              <a:chExt cx="904596" cy="141402"/>
            </a:xfrm>
          </p:grpSpPr>
          <p:cxnSp>
            <p:nvCxnSpPr>
              <p:cNvPr id="86" name="Straight Connector 149">
                <a:extLst>
                  <a:ext uri="{FF2B5EF4-FFF2-40B4-BE49-F238E27FC236}">
                    <a16:creationId xmlns:a16="http://schemas.microsoft.com/office/drawing/2014/main" xmlns="" id="{D25F66DC-AD17-4B1B-862A-4E78E8D155FB}"/>
                  </a:ext>
                </a:extLst>
              </p:cNvPr>
              <p:cNvCxnSpPr/>
              <p:nvPr/>
            </p:nvCxnSpPr>
            <p:spPr bwMode="gray">
              <a:xfrm>
                <a:off x="1827179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87" name="Straight Connector 150">
                <a:extLst>
                  <a:ext uri="{FF2B5EF4-FFF2-40B4-BE49-F238E27FC236}">
                    <a16:creationId xmlns:a16="http://schemas.microsoft.com/office/drawing/2014/main" xmlns="" id="{5C68E65B-CEDF-4824-8CE2-67AB8F6E874B}"/>
                  </a:ext>
                </a:extLst>
              </p:cNvPr>
              <p:cNvCxnSpPr/>
              <p:nvPr/>
            </p:nvCxnSpPr>
            <p:spPr bwMode="gray">
              <a:xfrm>
                <a:off x="1977945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88" name="Straight Connector 151">
                <a:extLst>
                  <a:ext uri="{FF2B5EF4-FFF2-40B4-BE49-F238E27FC236}">
                    <a16:creationId xmlns:a16="http://schemas.microsoft.com/office/drawing/2014/main" xmlns="" id="{063CED5E-EE9C-4DD1-B423-47C9E49AE155}"/>
                  </a:ext>
                </a:extLst>
              </p:cNvPr>
              <p:cNvCxnSpPr/>
              <p:nvPr/>
            </p:nvCxnSpPr>
            <p:spPr bwMode="gray">
              <a:xfrm>
                <a:off x="2128711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89" name="Straight Connector 152">
                <a:extLst>
                  <a:ext uri="{FF2B5EF4-FFF2-40B4-BE49-F238E27FC236}">
                    <a16:creationId xmlns:a16="http://schemas.microsoft.com/office/drawing/2014/main" xmlns="" id="{518169CC-6224-47E7-A794-5F5576DD10F9}"/>
                  </a:ext>
                </a:extLst>
              </p:cNvPr>
              <p:cNvCxnSpPr/>
              <p:nvPr/>
            </p:nvCxnSpPr>
            <p:spPr bwMode="gray">
              <a:xfrm>
                <a:off x="2279477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90" name="Straight Connector 153">
                <a:extLst>
                  <a:ext uri="{FF2B5EF4-FFF2-40B4-BE49-F238E27FC236}">
                    <a16:creationId xmlns:a16="http://schemas.microsoft.com/office/drawing/2014/main" xmlns="" id="{C0683B57-5DDA-4BE1-B9F4-0C86D69826E4}"/>
                  </a:ext>
                </a:extLst>
              </p:cNvPr>
              <p:cNvCxnSpPr/>
              <p:nvPr/>
            </p:nvCxnSpPr>
            <p:spPr bwMode="gray">
              <a:xfrm>
                <a:off x="2430243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91" name="Straight Connector 154">
                <a:extLst>
                  <a:ext uri="{FF2B5EF4-FFF2-40B4-BE49-F238E27FC236}">
                    <a16:creationId xmlns:a16="http://schemas.microsoft.com/office/drawing/2014/main" xmlns="" id="{5F83D0C7-3B11-409F-AB47-38AECB6A2D8B}"/>
                  </a:ext>
                </a:extLst>
              </p:cNvPr>
              <p:cNvCxnSpPr/>
              <p:nvPr/>
            </p:nvCxnSpPr>
            <p:spPr bwMode="gray">
              <a:xfrm>
                <a:off x="2581009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92" name="Straight Connector 155">
                <a:extLst>
                  <a:ext uri="{FF2B5EF4-FFF2-40B4-BE49-F238E27FC236}">
                    <a16:creationId xmlns:a16="http://schemas.microsoft.com/office/drawing/2014/main" xmlns="" id="{AF19A0C9-BC34-41BA-AA41-92B4FA5A0BB7}"/>
                  </a:ext>
                </a:extLst>
              </p:cNvPr>
              <p:cNvCxnSpPr/>
              <p:nvPr/>
            </p:nvCxnSpPr>
            <p:spPr bwMode="gray">
              <a:xfrm>
                <a:off x="2731775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</p:grpSp>
        <p:grpSp>
          <p:nvGrpSpPr>
            <p:cNvPr id="78" name="Group 57">
              <a:extLst>
                <a:ext uri="{FF2B5EF4-FFF2-40B4-BE49-F238E27FC236}">
                  <a16:creationId xmlns:a16="http://schemas.microsoft.com/office/drawing/2014/main" xmlns="" id="{9D14270A-ED67-4255-A666-B937101CBE5D}"/>
                </a:ext>
              </a:extLst>
            </p:cNvPr>
            <p:cNvGrpSpPr/>
            <p:nvPr/>
          </p:nvGrpSpPr>
          <p:grpSpPr bwMode="gray">
            <a:xfrm>
              <a:off x="2720540" y="2602276"/>
              <a:ext cx="603226" cy="94293"/>
              <a:chOff x="1827179" y="2290713"/>
              <a:chExt cx="904596" cy="141402"/>
            </a:xfrm>
          </p:grpSpPr>
          <p:cxnSp>
            <p:nvCxnSpPr>
              <p:cNvPr id="79" name="Straight Connector 58">
                <a:extLst>
                  <a:ext uri="{FF2B5EF4-FFF2-40B4-BE49-F238E27FC236}">
                    <a16:creationId xmlns:a16="http://schemas.microsoft.com/office/drawing/2014/main" xmlns="" id="{6E61EE31-C375-40A1-99BD-15FE967EA7A8}"/>
                  </a:ext>
                </a:extLst>
              </p:cNvPr>
              <p:cNvCxnSpPr/>
              <p:nvPr/>
            </p:nvCxnSpPr>
            <p:spPr bwMode="gray">
              <a:xfrm>
                <a:off x="1827179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80" name="Straight Connector 143">
                <a:extLst>
                  <a:ext uri="{FF2B5EF4-FFF2-40B4-BE49-F238E27FC236}">
                    <a16:creationId xmlns:a16="http://schemas.microsoft.com/office/drawing/2014/main" xmlns="" id="{B02231FA-95BA-4252-B6DC-1ABE1E5B58C6}"/>
                  </a:ext>
                </a:extLst>
              </p:cNvPr>
              <p:cNvCxnSpPr/>
              <p:nvPr/>
            </p:nvCxnSpPr>
            <p:spPr bwMode="gray">
              <a:xfrm>
                <a:off x="1977945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81" name="Straight Connector 144">
                <a:extLst>
                  <a:ext uri="{FF2B5EF4-FFF2-40B4-BE49-F238E27FC236}">
                    <a16:creationId xmlns:a16="http://schemas.microsoft.com/office/drawing/2014/main" xmlns="" id="{611FB22B-B450-4611-81FF-F0225DFD778B}"/>
                  </a:ext>
                </a:extLst>
              </p:cNvPr>
              <p:cNvCxnSpPr/>
              <p:nvPr/>
            </p:nvCxnSpPr>
            <p:spPr bwMode="gray">
              <a:xfrm>
                <a:off x="2128711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82" name="Straight Connector 145">
                <a:extLst>
                  <a:ext uri="{FF2B5EF4-FFF2-40B4-BE49-F238E27FC236}">
                    <a16:creationId xmlns:a16="http://schemas.microsoft.com/office/drawing/2014/main" xmlns="" id="{B6E59838-1752-4368-B265-ABC332427CB5}"/>
                  </a:ext>
                </a:extLst>
              </p:cNvPr>
              <p:cNvCxnSpPr/>
              <p:nvPr/>
            </p:nvCxnSpPr>
            <p:spPr bwMode="gray">
              <a:xfrm>
                <a:off x="2279477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83" name="Straight Connector 146">
                <a:extLst>
                  <a:ext uri="{FF2B5EF4-FFF2-40B4-BE49-F238E27FC236}">
                    <a16:creationId xmlns:a16="http://schemas.microsoft.com/office/drawing/2014/main" xmlns="" id="{7F4C715F-BF3E-46F3-B2C8-31607BC88CE6}"/>
                  </a:ext>
                </a:extLst>
              </p:cNvPr>
              <p:cNvCxnSpPr/>
              <p:nvPr/>
            </p:nvCxnSpPr>
            <p:spPr bwMode="gray">
              <a:xfrm>
                <a:off x="2430243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84" name="Straight Connector 147">
                <a:extLst>
                  <a:ext uri="{FF2B5EF4-FFF2-40B4-BE49-F238E27FC236}">
                    <a16:creationId xmlns:a16="http://schemas.microsoft.com/office/drawing/2014/main" xmlns="" id="{D95D557B-924A-4BB7-A9D4-19C5326589FA}"/>
                  </a:ext>
                </a:extLst>
              </p:cNvPr>
              <p:cNvCxnSpPr/>
              <p:nvPr/>
            </p:nvCxnSpPr>
            <p:spPr bwMode="gray">
              <a:xfrm>
                <a:off x="2581009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85" name="Straight Connector 148">
                <a:extLst>
                  <a:ext uri="{FF2B5EF4-FFF2-40B4-BE49-F238E27FC236}">
                    <a16:creationId xmlns:a16="http://schemas.microsoft.com/office/drawing/2014/main" xmlns="" id="{E6C78A67-2A07-484F-ADA2-B29165C38B62}"/>
                  </a:ext>
                </a:extLst>
              </p:cNvPr>
              <p:cNvCxnSpPr/>
              <p:nvPr/>
            </p:nvCxnSpPr>
            <p:spPr bwMode="gray">
              <a:xfrm>
                <a:off x="2731775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</p:grpSp>
      </p:grpSp>
      <p:grpSp>
        <p:nvGrpSpPr>
          <p:cNvPr id="95" name="Group 155">
            <a:extLst>
              <a:ext uri="{FF2B5EF4-FFF2-40B4-BE49-F238E27FC236}">
                <a16:creationId xmlns:a16="http://schemas.microsoft.com/office/drawing/2014/main" xmlns="" id="{B4E566FA-AFDD-4112-B737-D4D385EE9F65}"/>
              </a:ext>
            </a:extLst>
          </p:cNvPr>
          <p:cNvGrpSpPr/>
          <p:nvPr/>
        </p:nvGrpSpPr>
        <p:grpSpPr bwMode="gray">
          <a:xfrm>
            <a:off x="3005151" y="4044433"/>
            <a:ext cx="1866936" cy="396773"/>
            <a:chOff x="2620005" y="2414992"/>
            <a:chExt cx="804300" cy="281577"/>
          </a:xfrm>
        </p:grpSpPr>
        <p:sp>
          <p:nvSpPr>
            <p:cNvPr id="96" name="Rectangle 159">
              <a:extLst>
                <a:ext uri="{FF2B5EF4-FFF2-40B4-BE49-F238E27FC236}">
                  <a16:creationId xmlns:a16="http://schemas.microsoft.com/office/drawing/2014/main" xmlns="" id="{58E768E1-9487-4BC7-B528-26A8AD740978}"/>
                </a:ext>
              </a:extLst>
            </p:cNvPr>
            <p:cNvSpPr/>
            <p:nvPr/>
          </p:nvSpPr>
          <p:spPr bwMode="gray">
            <a:xfrm>
              <a:off x="2620005" y="2545237"/>
              <a:ext cx="804299" cy="30488"/>
            </a:xfrm>
            <a:prstGeom prst="rect">
              <a:avLst/>
            </a:prstGeom>
            <a:solidFill>
              <a:schemeClr val="tx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sz="1600" dirty="0"/>
            </a:p>
          </p:txBody>
        </p:sp>
        <p:sp>
          <p:nvSpPr>
            <p:cNvPr id="97" name="L-Shape 160">
              <a:extLst>
                <a:ext uri="{FF2B5EF4-FFF2-40B4-BE49-F238E27FC236}">
                  <a16:creationId xmlns:a16="http://schemas.microsoft.com/office/drawing/2014/main" xmlns="" id="{4C9A4BA8-B7B1-4031-B889-0EDDCF4C4B81}"/>
                </a:ext>
              </a:extLst>
            </p:cNvPr>
            <p:cNvSpPr/>
            <p:nvPr/>
          </p:nvSpPr>
          <p:spPr bwMode="gray">
            <a:xfrm>
              <a:off x="2620006" y="2545237"/>
              <a:ext cx="804299" cy="30488"/>
            </a:xfrm>
            <a:prstGeom prst="corner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sz="1600" dirty="0"/>
            </a:p>
          </p:txBody>
        </p:sp>
        <p:grpSp>
          <p:nvGrpSpPr>
            <p:cNvPr id="98" name="Group 56">
              <a:extLst>
                <a:ext uri="{FF2B5EF4-FFF2-40B4-BE49-F238E27FC236}">
                  <a16:creationId xmlns:a16="http://schemas.microsoft.com/office/drawing/2014/main" xmlns="" id="{1119B944-1872-4375-BEF3-76ACF2173978}"/>
                </a:ext>
              </a:extLst>
            </p:cNvPr>
            <p:cNvGrpSpPr/>
            <p:nvPr/>
          </p:nvGrpSpPr>
          <p:grpSpPr bwMode="gray">
            <a:xfrm>
              <a:off x="2720542" y="2414992"/>
              <a:ext cx="603226" cy="94293"/>
              <a:chOff x="1827179" y="2290713"/>
              <a:chExt cx="904596" cy="141402"/>
            </a:xfrm>
          </p:grpSpPr>
          <p:cxnSp>
            <p:nvCxnSpPr>
              <p:cNvPr id="107" name="Straight Connector 170">
                <a:extLst>
                  <a:ext uri="{FF2B5EF4-FFF2-40B4-BE49-F238E27FC236}">
                    <a16:creationId xmlns:a16="http://schemas.microsoft.com/office/drawing/2014/main" xmlns="" id="{A531FB22-397C-417E-8957-BCE0F58FA116}"/>
                  </a:ext>
                </a:extLst>
              </p:cNvPr>
              <p:cNvCxnSpPr/>
              <p:nvPr/>
            </p:nvCxnSpPr>
            <p:spPr bwMode="gray">
              <a:xfrm>
                <a:off x="1827179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108" name="Straight Connector 171">
                <a:extLst>
                  <a:ext uri="{FF2B5EF4-FFF2-40B4-BE49-F238E27FC236}">
                    <a16:creationId xmlns:a16="http://schemas.microsoft.com/office/drawing/2014/main" xmlns="" id="{FDE69B62-BFD4-4CCB-A61A-FCED73A2D3E9}"/>
                  </a:ext>
                </a:extLst>
              </p:cNvPr>
              <p:cNvCxnSpPr/>
              <p:nvPr/>
            </p:nvCxnSpPr>
            <p:spPr bwMode="gray">
              <a:xfrm>
                <a:off x="1977945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109" name="Straight Connector 172">
                <a:extLst>
                  <a:ext uri="{FF2B5EF4-FFF2-40B4-BE49-F238E27FC236}">
                    <a16:creationId xmlns:a16="http://schemas.microsoft.com/office/drawing/2014/main" xmlns="" id="{87BE384F-95B9-4EF8-BEC1-0C253B351AAB}"/>
                  </a:ext>
                </a:extLst>
              </p:cNvPr>
              <p:cNvCxnSpPr/>
              <p:nvPr/>
            </p:nvCxnSpPr>
            <p:spPr bwMode="gray">
              <a:xfrm>
                <a:off x="2128711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110" name="Straight Connector 173">
                <a:extLst>
                  <a:ext uri="{FF2B5EF4-FFF2-40B4-BE49-F238E27FC236}">
                    <a16:creationId xmlns:a16="http://schemas.microsoft.com/office/drawing/2014/main" xmlns="" id="{9AB3D297-A80C-4983-B54B-ED9270BCF3EA}"/>
                  </a:ext>
                </a:extLst>
              </p:cNvPr>
              <p:cNvCxnSpPr/>
              <p:nvPr/>
            </p:nvCxnSpPr>
            <p:spPr bwMode="gray">
              <a:xfrm>
                <a:off x="2279477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111" name="Straight Connector 174">
                <a:extLst>
                  <a:ext uri="{FF2B5EF4-FFF2-40B4-BE49-F238E27FC236}">
                    <a16:creationId xmlns:a16="http://schemas.microsoft.com/office/drawing/2014/main" xmlns="" id="{BB9E6067-EB80-4CB1-81AE-36818671D4A2}"/>
                  </a:ext>
                </a:extLst>
              </p:cNvPr>
              <p:cNvCxnSpPr/>
              <p:nvPr/>
            </p:nvCxnSpPr>
            <p:spPr bwMode="gray">
              <a:xfrm>
                <a:off x="2430243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112" name="Straight Connector 175">
                <a:extLst>
                  <a:ext uri="{FF2B5EF4-FFF2-40B4-BE49-F238E27FC236}">
                    <a16:creationId xmlns:a16="http://schemas.microsoft.com/office/drawing/2014/main" xmlns="" id="{60300321-39FB-417D-94BA-5E48A3A3E1FC}"/>
                  </a:ext>
                </a:extLst>
              </p:cNvPr>
              <p:cNvCxnSpPr/>
              <p:nvPr/>
            </p:nvCxnSpPr>
            <p:spPr bwMode="gray">
              <a:xfrm>
                <a:off x="2581009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113" name="Straight Connector 176">
                <a:extLst>
                  <a:ext uri="{FF2B5EF4-FFF2-40B4-BE49-F238E27FC236}">
                    <a16:creationId xmlns:a16="http://schemas.microsoft.com/office/drawing/2014/main" xmlns="" id="{9F473CC3-B289-4B78-A6F9-C4C6B2D1381B}"/>
                  </a:ext>
                </a:extLst>
              </p:cNvPr>
              <p:cNvCxnSpPr/>
              <p:nvPr/>
            </p:nvCxnSpPr>
            <p:spPr bwMode="gray">
              <a:xfrm>
                <a:off x="2731775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</p:grpSp>
        <p:grpSp>
          <p:nvGrpSpPr>
            <p:cNvPr id="99" name="Group 57">
              <a:extLst>
                <a:ext uri="{FF2B5EF4-FFF2-40B4-BE49-F238E27FC236}">
                  <a16:creationId xmlns:a16="http://schemas.microsoft.com/office/drawing/2014/main" xmlns="" id="{2AE1C7C8-F74D-40C8-8BF9-64E878ADAC21}"/>
                </a:ext>
              </a:extLst>
            </p:cNvPr>
            <p:cNvGrpSpPr/>
            <p:nvPr/>
          </p:nvGrpSpPr>
          <p:grpSpPr bwMode="gray">
            <a:xfrm>
              <a:off x="2720540" y="2602276"/>
              <a:ext cx="603226" cy="94293"/>
              <a:chOff x="1827179" y="2290713"/>
              <a:chExt cx="904596" cy="141402"/>
            </a:xfrm>
          </p:grpSpPr>
          <p:cxnSp>
            <p:nvCxnSpPr>
              <p:cNvPr id="100" name="Straight Connector 58">
                <a:extLst>
                  <a:ext uri="{FF2B5EF4-FFF2-40B4-BE49-F238E27FC236}">
                    <a16:creationId xmlns:a16="http://schemas.microsoft.com/office/drawing/2014/main" xmlns="" id="{756E6A64-5BFF-4C92-8012-9D56D78CE948}"/>
                  </a:ext>
                </a:extLst>
              </p:cNvPr>
              <p:cNvCxnSpPr/>
              <p:nvPr/>
            </p:nvCxnSpPr>
            <p:spPr bwMode="gray">
              <a:xfrm>
                <a:off x="1827179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101" name="Straight Connector 164">
                <a:extLst>
                  <a:ext uri="{FF2B5EF4-FFF2-40B4-BE49-F238E27FC236}">
                    <a16:creationId xmlns:a16="http://schemas.microsoft.com/office/drawing/2014/main" xmlns="" id="{421F3686-3C05-43CD-9F19-520757F06DB1}"/>
                  </a:ext>
                </a:extLst>
              </p:cNvPr>
              <p:cNvCxnSpPr/>
              <p:nvPr/>
            </p:nvCxnSpPr>
            <p:spPr bwMode="gray">
              <a:xfrm>
                <a:off x="1977945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102" name="Straight Connector 165">
                <a:extLst>
                  <a:ext uri="{FF2B5EF4-FFF2-40B4-BE49-F238E27FC236}">
                    <a16:creationId xmlns:a16="http://schemas.microsoft.com/office/drawing/2014/main" xmlns="" id="{D87962DB-D3DC-45A0-99F1-DEDCD8A97C9B}"/>
                  </a:ext>
                </a:extLst>
              </p:cNvPr>
              <p:cNvCxnSpPr/>
              <p:nvPr/>
            </p:nvCxnSpPr>
            <p:spPr bwMode="gray">
              <a:xfrm>
                <a:off x="2128711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103" name="Straight Connector 166">
                <a:extLst>
                  <a:ext uri="{FF2B5EF4-FFF2-40B4-BE49-F238E27FC236}">
                    <a16:creationId xmlns:a16="http://schemas.microsoft.com/office/drawing/2014/main" xmlns="" id="{1CEF2B45-3A38-430F-B490-96061EF57FCF}"/>
                  </a:ext>
                </a:extLst>
              </p:cNvPr>
              <p:cNvCxnSpPr/>
              <p:nvPr/>
            </p:nvCxnSpPr>
            <p:spPr bwMode="gray">
              <a:xfrm>
                <a:off x="2279477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104" name="Straight Connector 167">
                <a:extLst>
                  <a:ext uri="{FF2B5EF4-FFF2-40B4-BE49-F238E27FC236}">
                    <a16:creationId xmlns:a16="http://schemas.microsoft.com/office/drawing/2014/main" xmlns="" id="{DFEBD410-B9AD-45A7-86B8-3018EE6A5372}"/>
                  </a:ext>
                </a:extLst>
              </p:cNvPr>
              <p:cNvCxnSpPr/>
              <p:nvPr/>
            </p:nvCxnSpPr>
            <p:spPr bwMode="gray">
              <a:xfrm>
                <a:off x="2430243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105" name="Straight Connector 168">
                <a:extLst>
                  <a:ext uri="{FF2B5EF4-FFF2-40B4-BE49-F238E27FC236}">
                    <a16:creationId xmlns:a16="http://schemas.microsoft.com/office/drawing/2014/main" xmlns="" id="{5F6FDAE3-C25C-4D76-BC1B-04B0B3EEA9FD}"/>
                  </a:ext>
                </a:extLst>
              </p:cNvPr>
              <p:cNvCxnSpPr/>
              <p:nvPr/>
            </p:nvCxnSpPr>
            <p:spPr bwMode="gray">
              <a:xfrm>
                <a:off x="2581009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  <p:cxnSp>
            <p:nvCxnSpPr>
              <p:cNvPr id="106" name="Straight Connector 169">
                <a:extLst>
                  <a:ext uri="{FF2B5EF4-FFF2-40B4-BE49-F238E27FC236}">
                    <a16:creationId xmlns:a16="http://schemas.microsoft.com/office/drawing/2014/main" xmlns="" id="{CBE05672-89DC-4EFC-87A6-6C1DF8DE5356}"/>
                  </a:ext>
                </a:extLst>
              </p:cNvPr>
              <p:cNvCxnSpPr/>
              <p:nvPr/>
            </p:nvCxnSpPr>
            <p:spPr bwMode="gray">
              <a:xfrm>
                <a:off x="2731775" y="2290713"/>
                <a:ext cx="0" cy="141402"/>
              </a:xfrm>
              <a:prstGeom prst="line">
                <a:avLst/>
              </a:prstGeom>
              <a:solidFill>
                <a:srgbClr val="00529B"/>
              </a:solidFill>
              <a:ln w="19050" cap="flat" cmpd="sng" algn="ctr">
                <a:solidFill>
                  <a:schemeClr val="bg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</p:grpSp>
      </p:grpSp>
      <p:grpSp>
        <p:nvGrpSpPr>
          <p:cNvPr id="116" name="Group 13317">
            <a:extLst>
              <a:ext uri="{FF2B5EF4-FFF2-40B4-BE49-F238E27FC236}">
                <a16:creationId xmlns:a16="http://schemas.microsoft.com/office/drawing/2014/main" xmlns="" id="{B8B142CA-D445-4929-BA76-C24D741AE108}"/>
              </a:ext>
            </a:extLst>
          </p:cNvPr>
          <p:cNvGrpSpPr/>
          <p:nvPr/>
        </p:nvGrpSpPr>
        <p:grpSpPr bwMode="gray">
          <a:xfrm>
            <a:off x="3950521" y="3224629"/>
            <a:ext cx="636074" cy="2064980"/>
            <a:chOff x="2804881" y="3327918"/>
            <a:chExt cx="636074" cy="2064980"/>
          </a:xfrm>
        </p:grpSpPr>
        <p:sp>
          <p:nvSpPr>
            <p:cNvPr id="117" name="Right Arrow 13316">
              <a:extLst>
                <a:ext uri="{FF2B5EF4-FFF2-40B4-BE49-F238E27FC236}">
                  <a16:creationId xmlns:a16="http://schemas.microsoft.com/office/drawing/2014/main" xmlns="" id="{A277164D-5D56-4F70-B988-08A95AEE898C}"/>
                </a:ext>
              </a:extLst>
            </p:cNvPr>
            <p:cNvSpPr/>
            <p:nvPr/>
          </p:nvSpPr>
          <p:spPr bwMode="gray">
            <a:xfrm>
              <a:off x="3039493" y="3327918"/>
              <a:ext cx="396367" cy="297460"/>
            </a:xfrm>
            <a:prstGeom prst="rightArrow">
              <a:avLst/>
            </a:prstGeom>
            <a:solidFill>
              <a:srgbClr val="AC00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118" name="Right Arrow 180">
              <a:extLst>
                <a:ext uri="{FF2B5EF4-FFF2-40B4-BE49-F238E27FC236}">
                  <a16:creationId xmlns:a16="http://schemas.microsoft.com/office/drawing/2014/main" xmlns="" id="{51AA0611-BC3B-4F70-9B92-7D877CE71343}"/>
                </a:ext>
              </a:extLst>
            </p:cNvPr>
            <p:cNvSpPr/>
            <p:nvPr/>
          </p:nvSpPr>
          <p:spPr bwMode="gray">
            <a:xfrm>
              <a:off x="2804881" y="4202140"/>
              <a:ext cx="396367" cy="297460"/>
            </a:xfrm>
            <a:prstGeom prst="rightArrow">
              <a:avLst/>
            </a:prstGeom>
            <a:solidFill>
              <a:srgbClr val="AC00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119" name="Right Arrow 181">
              <a:extLst>
                <a:ext uri="{FF2B5EF4-FFF2-40B4-BE49-F238E27FC236}">
                  <a16:creationId xmlns:a16="http://schemas.microsoft.com/office/drawing/2014/main" xmlns="" id="{11A96B02-BECD-4760-B001-EF8B11A7ABD1}"/>
                </a:ext>
              </a:extLst>
            </p:cNvPr>
            <p:cNvSpPr/>
            <p:nvPr/>
          </p:nvSpPr>
          <p:spPr bwMode="gray">
            <a:xfrm>
              <a:off x="3044588" y="5095438"/>
              <a:ext cx="396367" cy="297460"/>
            </a:xfrm>
            <a:prstGeom prst="rightArrow">
              <a:avLst/>
            </a:prstGeom>
            <a:solidFill>
              <a:srgbClr val="AC000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</p:grpSp>
      <p:sp>
        <p:nvSpPr>
          <p:cNvPr id="120" name="Bal oldali szögletes zárójel 119">
            <a:extLst>
              <a:ext uri="{FF2B5EF4-FFF2-40B4-BE49-F238E27FC236}">
                <a16:creationId xmlns:a16="http://schemas.microsoft.com/office/drawing/2014/main" xmlns="" id="{CCCE3662-657D-4820-A29A-D63C06F45AC6}"/>
              </a:ext>
            </a:extLst>
          </p:cNvPr>
          <p:cNvSpPr/>
          <p:nvPr/>
        </p:nvSpPr>
        <p:spPr>
          <a:xfrm rot="16200000">
            <a:off x="6222694" y="3437742"/>
            <a:ext cx="151699" cy="4833481"/>
          </a:xfrm>
          <a:prstGeom prst="leftBracket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121" name="Picture 2" descr="https://upload.wikimedia.org/wikipedia/commons/thumb/9/98/Gartner_logo.svg/1000px-Gartner_logo.svg.png">
            <a:extLst>
              <a:ext uri="{FF2B5EF4-FFF2-40B4-BE49-F238E27FC236}">
                <a16:creationId xmlns:a16="http://schemas.microsoft.com/office/drawing/2014/main" xmlns="" id="{9D6EE2EE-AF36-4C04-884B-57C08F362C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10095" y="6267018"/>
            <a:ext cx="1408589" cy="326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27" name="Csoportba foglalás 126"/>
          <p:cNvGrpSpPr/>
          <p:nvPr/>
        </p:nvGrpSpPr>
        <p:grpSpPr>
          <a:xfrm>
            <a:off x="3429926" y="3241129"/>
            <a:ext cx="748545" cy="2027829"/>
            <a:chOff x="3429926" y="3241129"/>
            <a:chExt cx="748545" cy="2027829"/>
          </a:xfrm>
        </p:grpSpPr>
        <p:grpSp>
          <p:nvGrpSpPr>
            <p:cNvPr id="124" name="Csoportba foglalás 123"/>
            <p:cNvGrpSpPr/>
            <p:nvPr/>
          </p:nvGrpSpPr>
          <p:grpSpPr>
            <a:xfrm>
              <a:off x="3663083" y="3241129"/>
              <a:ext cx="513648" cy="262848"/>
              <a:chOff x="3663083" y="3241129"/>
              <a:chExt cx="513648" cy="262848"/>
            </a:xfrm>
          </p:grpSpPr>
          <p:sp>
            <p:nvSpPr>
              <p:cNvPr id="68" name="Octagon 23">
                <a:extLst>
                  <a:ext uri="{FF2B5EF4-FFF2-40B4-BE49-F238E27FC236}">
                    <a16:creationId xmlns:a16="http://schemas.microsoft.com/office/drawing/2014/main" xmlns="" id="{A5E497EF-D179-4BBF-A17D-500472E6AB04}"/>
                  </a:ext>
                </a:extLst>
              </p:cNvPr>
              <p:cNvSpPr/>
              <p:nvPr/>
            </p:nvSpPr>
            <p:spPr bwMode="gray">
              <a:xfrm>
                <a:off x="3663083" y="3241129"/>
                <a:ext cx="513648" cy="262848"/>
              </a:xfrm>
              <a:prstGeom prst="octagon">
                <a:avLst>
                  <a:gd name="adj" fmla="val 19289"/>
                </a:avLst>
              </a:prstGeom>
              <a:solidFill>
                <a:srgbClr val="CDCDCD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25400" dir="2700000" algn="tl" rotWithShape="0">
                  <a:prstClr val="black">
                    <a:alpha val="60000"/>
                  </a:prst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</a:pPr>
                <a:endParaRPr lang="en-US" sz="1600" dirty="0"/>
              </a:p>
            </p:txBody>
          </p:sp>
          <p:cxnSp>
            <p:nvCxnSpPr>
              <p:cNvPr id="69" name="Straight Connector 24">
                <a:extLst>
                  <a:ext uri="{FF2B5EF4-FFF2-40B4-BE49-F238E27FC236}">
                    <a16:creationId xmlns:a16="http://schemas.microsoft.com/office/drawing/2014/main" xmlns="" id="{F8B8DE7E-2B94-422D-95A0-7DBB7A6EF0B9}"/>
                  </a:ext>
                </a:extLst>
              </p:cNvPr>
              <p:cNvCxnSpPr/>
              <p:nvPr/>
            </p:nvCxnSpPr>
            <p:spPr bwMode="gray">
              <a:xfrm>
                <a:off x="3893419" y="3271757"/>
                <a:ext cx="0" cy="195034"/>
              </a:xfrm>
              <a:prstGeom prst="line">
                <a:avLst/>
              </a:prstGeom>
              <a:solidFill>
                <a:srgbClr val="00529B"/>
              </a:solidFill>
              <a:ln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</p:grpSp>
        <p:grpSp>
          <p:nvGrpSpPr>
            <p:cNvPr id="126" name="Csoportba foglalás 125"/>
            <p:cNvGrpSpPr/>
            <p:nvPr/>
          </p:nvGrpSpPr>
          <p:grpSpPr>
            <a:xfrm>
              <a:off x="3664823" y="5012670"/>
              <a:ext cx="513648" cy="256288"/>
              <a:chOff x="3664823" y="5012670"/>
              <a:chExt cx="513648" cy="256288"/>
            </a:xfrm>
          </p:grpSpPr>
          <p:sp>
            <p:nvSpPr>
              <p:cNvPr id="93" name="Octagon 156">
                <a:extLst>
                  <a:ext uri="{FF2B5EF4-FFF2-40B4-BE49-F238E27FC236}">
                    <a16:creationId xmlns:a16="http://schemas.microsoft.com/office/drawing/2014/main" xmlns="" id="{97A1F557-34DF-4E7B-8546-523B882080F1}"/>
                  </a:ext>
                </a:extLst>
              </p:cNvPr>
              <p:cNvSpPr/>
              <p:nvPr/>
            </p:nvSpPr>
            <p:spPr bwMode="gray">
              <a:xfrm>
                <a:off x="3664823" y="5012670"/>
                <a:ext cx="513648" cy="256288"/>
              </a:xfrm>
              <a:prstGeom prst="octagon">
                <a:avLst>
                  <a:gd name="adj" fmla="val 19289"/>
                </a:avLst>
              </a:prstGeom>
              <a:solidFill>
                <a:srgbClr val="CDCDCD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25400" dir="2700000" algn="tl" rotWithShape="0">
                  <a:prstClr val="black">
                    <a:alpha val="60000"/>
                  </a:prst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</a:pPr>
                <a:endParaRPr lang="en-US" sz="1600" dirty="0"/>
              </a:p>
            </p:txBody>
          </p:sp>
          <p:cxnSp>
            <p:nvCxnSpPr>
              <p:cNvPr id="94" name="Straight Connector 157">
                <a:extLst>
                  <a:ext uri="{FF2B5EF4-FFF2-40B4-BE49-F238E27FC236}">
                    <a16:creationId xmlns:a16="http://schemas.microsoft.com/office/drawing/2014/main" xmlns="" id="{5C452D76-F27D-4B1D-917E-73036D7921D5}"/>
                  </a:ext>
                </a:extLst>
              </p:cNvPr>
              <p:cNvCxnSpPr/>
              <p:nvPr/>
            </p:nvCxnSpPr>
            <p:spPr bwMode="gray">
              <a:xfrm>
                <a:off x="3895159" y="5043298"/>
                <a:ext cx="0" cy="195034"/>
              </a:xfrm>
              <a:prstGeom prst="line">
                <a:avLst/>
              </a:prstGeom>
              <a:solidFill>
                <a:srgbClr val="00529B"/>
              </a:solidFill>
              <a:ln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</p:grpSp>
        <p:grpSp>
          <p:nvGrpSpPr>
            <p:cNvPr id="125" name="Csoportba foglalás 124"/>
            <p:cNvGrpSpPr/>
            <p:nvPr/>
          </p:nvGrpSpPr>
          <p:grpSpPr>
            <a:xfrm>
              <a:off x="3429926" y="4114674"/>
              <a:ext cx="513648" cy="256288"/>
              <a:chOff x="3429926" y="4114674"/>
              <a:chExt cx="513648" cy="256288"/>
            </a:xfrm>
          </p:grpSpPr>
          <p:sp>
            <p:nvSpPr>
              <p:cNvPr id="114" name="Octagon 177">
                <a:extLst>
                  <a:ext uri="{FF2B5EF4-FFF2-40B4-BE49-F238E27FC236}">
                    <a16:creationId xmlns:a16="http://schemas.microsoft.com/office/drawing/2014/main" xmlns="" id="{8652BD79-CB1C-44E0-8623-6EA67A5E365E}"/>
                  </a:ext>
                </a:extLst>
              </p:cNvPr>
              <p:cNvSpPr/>
              <p:nvPr/>
            </p:nvSpPr>
            <p:spPr bwMode="gray">
              <a:xfrm>
                <a:off x="3429926" y="4114674"/>
                <a:ext cx="513648" cy="256288"/>
              </a:xfrm>
              <a:prstGeom prst="octagon">
                <a:avLst>
                  <a:gd name="adj" fmla="val 19289"/>
                </a:avLst>
              </a:prstGeom>
              <a:solidFill>
                <a:srgbClr val="CDCDCD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38100" dist="25400" dir="2700000" algn="tl" rotWithShape="0">
                  <a:prstClr val="black">
                    <a:alpha val="60000"/>
                  </a:prstClr>
                </a:out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</a:pPr>
                <a:endParaRPr lang="en-US" sz="1600" dirty="0"/>
              </a:p>
            </p:txBody>
          </p:sp>
          <p:cxnSp>
            <p:nvCxnSpPr>
              <p:cNvPr id="115" name="Straight Connector 178">
                <a:extLst>
                  <a:ext uri="{FF2B5EF4-FFF2-40B4-BE49-F238E27FC236}">
                    <a16:creationId xmlns:a16="http://schemas.microsoft.com/office/drawing/2014/main" xmlns="" id="{BE47B627-292F-4749-B3AD-7DCD53370303}"/>
                  </a:ext>
                </a:extLst>
              </p:cNvPr>
              <p:cNvCxnSpPr/>
              <p:nvPr/>
            </p:nvCxnSpPr>
            <p:spPr bwMode="gray">
              <a:xfrm>
                <a:off x="3660262" y="4145302"/>
                <a:ext cx="0" cy="195034"/>
              </a:xfrm>
              <a:prstGeom prst="line">
                <a:avLst/>
              </a:prstGeom>
              <a:solidFill>
                <a:srgbClr val="00529B"/>
              </a:solidFill>
              <a:ln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</p:cxnSp>
        </p:grpSp>
      </p:grpSp>
      <p:sp>
        <p:nvSpPr>
          <p:cNvPr id="128" name="Freeform 27">
            <a:extLst>
              <a:ext uri="{FF2B5EF4-FFF2-40B4-BE49-F238E27FC236}">
                <a16:creationId xmlns:a16="http://schemas.microsoft.com/office/drawing/2014/main" xmlns="" id="{C213AA30-A94A-46AB-AD09-049439C3F7D4}"/>
              </a:ext>
            </a:extLst>
          </p:cNvPr>
          <p:cNvSpPr>
            <a:spLocks/>
          </p:cNvSpPr>
          <p:nvPr/>
        </p:nvSpPr>
        <p:spPr bwMode="gray">
          <a:xfrm>
            <a:off x="7866150" y="2579691"/>
            <a:ext cx="1706137" cy="809824"/>
          </a:xfrm>
          <a:custGeom>
            <a:avLst/>
            <a:gdLst/>
            <a:ahLst/>
            <a:cxnLst>
              <a:cxn ang="0">
                <a:pos x="412" y="0"/>
              </a:cxn>
              <a:cxn ang="0">
                <a:pos x="0" y="392"/>
              </a:cxn>
              <a:cxn ang="0">
                <a:pos x="824" y="392"/>
              </a:cxn>
              <a:cxn ang="0">
                <a:pos x="412" y="0"/>
              </a:cxn>
            </a:cxnLst>
            <a:rect l="0" t="0" r="r" b="b"/>
            <a:pathLst>
              <a:path w="824" h="392">
                <a:moveTo>
                  <a:pt x="412" y="0"/>
                </a:moveTo>
                <a:cubicBezTo>
                  <a:pt x="186" y="0"/>
                  <a:pt x="3" y="175"/>
                  <a:pt x="0" y="392"/>
                </a:cubicBezTo>
                <a:cubicBezTo>
                  <a:pt x="824" y="392"/>
                  <a:pt x="824" y="392"/>
                  <a:pt x="824" y="392"/>
                </a:cubicBezTo>
                <a:cubicBezTo>
                  <a:pt x="821" y="175"/>
                  <a:pt x="638" y="0"/>
                  <a:pt x="412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 w="9525" cap="flat">
            <a:solidFill>
              <a:srgbClr val="CDCDCD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89174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0"/>
                            </p:stCondLst>
                            <p:childTnLst>
                              <p:par>
                                <p:cTn id="9" presetID="42" presetClass="path" presetSubtype="0" accel="50000" decel="5000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8.33333E-7 -3.7037E-7 L 0.01484 -0.00023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4200" y="-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500"/>
                            </p:stCondLst>
                            <p:childTnLst>
                              <p:par>
                                <p:cTn id="16" presetID="1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7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8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120" grpId="0" animBg="1"/>
      <p:bldP spid="12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" name="Kép 12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4083" y="570142"/>
            <a:ext cx="4021200" cy="7148800"/>
          </a:xfrm>
          <a:prstGeom prst="rect">
            <a:avLst/>
          </a:prstGeom>
        </p:spPr>
      </p:pic>
      <p:pic>
        <p:nvPicPr>
          <p:cNvPr id="4" name="Kép 3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04083"/>
            <a:ext cx="4021014" cy="5937588"/>
          </a:xfrm>
          <a:prstGeom prst="rect">
            <a:avLst/>
          </a:prstGeom>
        </p:spPr>
      </p:pic>
      <p:sp>
        <p:nvSpPr>
          <p:cNvPr id="2" name="Title 1"/>
          <p:cNvSpPr txBox="1">
            <a:spLocks/>
          </p:cNvSpPr>
          <p:nvPr/>
        </p:nvSpPr>
        <p:spPr>
          <a:xfrm>
            <a:off x="4343400" y="580292"/>
            <a:ext cx="7526214" cy="5943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SPECIÁLIS DIÁK</a:t>
            </a:r>
            <a:endParaRPr lang="en-US" dirty="0"/>
          </a:p>
        </p:txBody>
      </p:sp>
      <p:sp>
        <p:nvSpPr>
          <p:cNvPr id="5" name="Rectangle 3"/>
          <p:cNvSpPr/>
          <p:nvPr/>
        </p:nvSpPr>
        <p:spPr>
          <a:xfrm rot="16200000">
            <a:off x="5238641" y="-5868109"/>
            <a:ext cx="1719893" cy="12878492"/>
          </a:xfrm>
          <a:custGeom>
            <a:avLst/>
            <a:gdLst>
              <a:gd name="connsiteX0" fmla="*/ 0 w 6042212"/>
              <a:gd name="connsiteY0" fmla="*/ 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0 h 4446494"/>
              <a:gd name="connsiteX0" fmla="*/ 0 w 6042212"/>
              <a:gd name="connsiteY0" fmla="*/ 1793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17930 h 4446494"/>
              <a:gd name="connsiteX0" fmla="*/ 278902 w 6321114"/>
              <a:gd name="connsiteY0" fmla="*/ 17930 h 4446494"/>
              <a:gd name="connsiteX1" fmla="*/ 6321114 w 6321114"/>
              <a:gd name="connsiteY1" fmla="*/ 0 h 4446494"/>
              <a:gd name="connsiteX2" fmla="*/ 6321114 w 6321114"/>
              <a:gd name="connsiteY2" fmla="*/ 4446494 h 4446494"/>
              <a:gd name="connsiteX3" fmla="*/ 278902 w 6321114"/>
              <a:gd name="connsiteY3" fmla="*/ 4446494 h 4446494"/>
              <a:gd name="connsiteX4" fmla="*/ 278902 w 6321114"/>
              <a:gd name="connsiteY4" fmla="*/ 17930 h 4446494"/>
              <a:gd name="connsiteX0" fmla="*/ 293564 w 6335776"/>
              <a:gd name="connsiteY0" fmla="*/ 17930 h 4500282"/>
              <a:gd name="connsiteX1" fmla="*/ 6335776 w 6335776"/>
              <a:gd name="connsiteY1" fmla="*/ 0 h 4500282"/>
              <a:gd name="connsiteX2" fmla="*/ 6335776 w 6335776"/>
              <a:gd name="connsiteY2" fmla="*/ 4446494 h 4500282"/>
              <a:gd name="connsiteX3" fmla="*/ 239776 w 6335776"/>
              <a:gd name="connsiteY3" fmla="*/ 4500282 h 4500282"/>
              <a:gd name="connsiteX4" fmla="*/ 293564 w 6335776"/>
              <a:gd name="connsiteY4" fmla="*/ 17930 h 4500282"/>
              <a:gd name="connsiteX0" fmla="*/ 477596 w 6519808"/>
              <a:gd name="connsiteY0" fmla="*/ 17930 h 4500282"/>
              <a:gd name="connsiteX1" fmla="*/ 6519808 w 6519808"/>
              <a:gd name="connsiteY1" fmla="*/ 0 h 4500282"/>
              <a:gd name="connsiteX2" fmla="*/ 6519808 w 6519808"/>
              <a:gd name="connsiteY2" fmla="*/ 4446494 h 4500282"/>
              <a:gd name="connsiteX3" fmla="*/ 423808 w 6519808"/>
              <a:gd name="connsiteY3" fmla="*/ 4500282 h 4500282"/>
              <a:gd name="connsiteX4" fmla="*/ 477596 w 6519808"/>
              <a:gd name="connsiteY4" fmla="*/ 17930 h 4500282"/>
              <a:gd name="connsiteX0" fmla="*/ 401857 w 6444069"/>
              <a:gd name="connsiteY0" fmla="*/ 17930 h 4500282"/>
              <a:gd name="connsiteX1" fmla="*/ 6444069 w 6444069"/>
              <a:gd name="connsiteY1" fmla="*/ 0 h 4500282"/>
              <a:gd name="connsiteX2" fmla="*/ 6444069 w 6444069"/>
              <a:gd name="connsiteY2" fmla="*/ 4446494 h 4500282"/>
              <a:gd name="connsiteX3" fmla="*/ 348069 w 6444069"/>
              <a:gd name="connsiteY3" fmla="*/ 4500282 h 4500282"/>
              <a:gd name="connsiteX4" fmla="*/ 401857 w 6444069"/>
              <a:gd name="connsiteY4" fmla="*/ 17930 h 4500282"/>
              <a:gd name="connsiteX0" fmla="*/ 283039 w 6325251"/>
              <a:gd name="connsiteY0" fmla="*/ 17930 h 4500282"/>
              <a:gd name="connsiteX1" fmla="*/ 6325251 w 6325251"/>
              <a:gd name="connsiteY1" fmla="*/ 0 h 4500282"/>
              <a:gd name="connsiteX2" fmla="*/ 6325251 w 6325251"/>
              <a:gd name="connsiteY2" fmla="*/ 4446494 h 4500282"/>
              <a:gd name="connsiteX3" fmla="*/ 229251 w 6325251"/>
              <a:gd name="connsiteY3" fmla="*/ 4500282 h 4500282"/>
              <a:gd name="connsiteX4" fmla="*/ 283039 w 6325251"/>
              <a:gd name="connsiteY4" fmla="*/ 17930 h 4500282"/>
              <a:gd name="connsiteX0" fmla="*/ 255115 w 6297327"/>
              <a:gd name="connsiteY0" fmla="*/ 17930 h 4500282"/>
              <a:gd name="connsiteX1" fmla="*/ 6297327 w 6297327"/>
              <a:gd name="connsiteY1" fmla="*/ 0 h 4500282"/>
              <a:gd name="connsiteX2" fmla="*/ 6297327 w 6297327"/>
              <a:gd name="connsiteY2" fmla="*/ 4446494 h 4500282"/>
              <a:gd name="connsiteX3" fmla="*/ 201327 w 6297327"/>
              <a:gd name="connsiteY3" fmla="*/ 4500282 h 4500282"/>
              <a:gd name="connsiteX4" fmla="*/ 255115 w 6297327"/>
              <a:gd name="connsiteY4" fmla="*/ 17930 h 4500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7327" h="4500282">
                <a:moveTo>
                  <a:pt x="255115" y="17930"/>
                </a:moveTo>
                <a:lnTo>
                  <a:pt x="6297327" y="0"/>
                </a:lnTo>
                <a:lnTo>
                  <a:pt x="6297327" y="4446494"/>
                </a:lnTo>
                <a:lnTo>
                  <a:pt x="201327" y="4500282"/>
                </a:lnTo>
                <a:cubicBezTo>
                  <a:pt x="4636" y="3696446"/>
                  <a:pt x="-152470" y="1310345"/>
                  <a:pt x="255115" y="17930"/>
                </a:cubicBezTo>
                <a:close/>
              </a:path>
            </a:pathLst>
          </a:custGeom>
          <a:gradFill>
            <a:gsLst>
              <a:gs pos="0">
                <a:srgbClr val="3A559F"/>
              </a:gs>
              <a:gs pos="100000">
                <a:srgbClr val="41739F"/>
              </a:gs>
            </a:gsLst>
            <a:lin ang="16200000" scaled="0"/>
          </a:gradFill>
          <a:ln w="762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70331" y="1"/>
            <a:ext cx="9995646" cy="1332196"/>
          </a:xfrm>
          <a:prstGeom prst="rect">
            <a:avLst/>
          </a:prstGeom>
          <a:effectLst/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0">
                <a:solidFill>
                  <a:schemeClr val="bg1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hu-HU" dirty="0" smtClean="0"/>
              <a:t>Mindenki lehet szállásadó </a:t>
            </a:r>
            <a:r>
              <a:rPr lang="mr-IN" dirty="0" smtClean="0"/>
              <a:t>–</a:t>
            </a:r>
            <a:r>
              <a:rPr lang="hu-HU" dirty="0" smtClean="0"/>
              <a:t> B2C</a:t>
            </a:r>
            <a:endParaRPr lang="en-US" dirty="0"/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221" y="324415"/>
            <a:ext cx="1432449" cy="630278"/>
          </a:xfrm>
          <a:prstGeom prst="rect">
            <a:avLst/>
          </a:prstGeom>
        </p:spPr>
      </p:pic>
      <p:cxnSp>
        <p:nvCxnSpPr>
          <p:cNvPr id="8" name="Straight Connector 8"/>
          <p:cNvCxnSpPr/>
          <p:nvPr/>
        </p:nvCxnSpPr>
        <p:spPr>
          <a:xfrm>
            <a:off x="10410095" y="158265"/>
            <a:ext cx="0" cy="90000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" name="Kép 132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5143" y="1449573"/>
            <a:ext cx="4002739" cy="6574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687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400" y="1392984"/>
            <a:ext cx="7717725" cy="5533578"/>
          </a:xfrm>
          <a:prstGeom prst="rect">
            <a:avLst/>
          </a:prstGeom>
        </p:spPr>
      </p:pic>
      <p:pic>
        <p:nvPicPr>
          <p:cNvPr id="9" name="Kép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94401" y="1431084"/>
            <a:ext cx="9093200" cy="5470078"/>
          </a:xfrm>
          <a:prstGeom prst="rect">
            <a:avLst/>
          </a:prstGeom>
        </p:spPr>
      </p:pic>
      <p:sp>
        <p:nvSpPr>
          <p:cNvPr id="2" name="Title 1"/>
          <p:cNvSpPr txBox="1">
            <a:spLocks/>
          </p:cNvSpPr>
          <p:nvPr/>
        </p:nvSpPr>
        <p:spPr>
          <a:xfrm>
            <a:off x="4343400" y="580292"/>
            <a:ext cx="7526214" cy="5943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SPECIÁLIS DIÁK</a:t>
            </a:r>
            <a:endParaRPr lang="en-US" dirty="0"/>
          </a:p>
        </p:txBody>
      </p:sp>
      <p:sp>
        <p:nvSpPr>
          <p:cNvPr id="5" name="Rectangle 3"/>
          <p:cNvSpPr/>
          <p:nvPr/>
        </p:nvSpPr>
        <p:spPr>
          <a:xfrm rot="16200000">
            <a:off x="5238641" y="-5868109"/>
            <a:ext cx="1719893" cy="12878492"/>
          </a:xfrm>
          <a:custGeom>
            <a:avLst/>
            <a:gdLst>
              <a:gd name="connsiteX0" fmla="*/ 0 w 6042212"/>
              <a:gd name="connsiteY0" fmla="*/ 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0 h 4446494"/>
              <a:gd name="connsiteX0" fmla="*/ 0 w 6042212"/>
              <a:gd name="connsiteY0" fmla="*/ 1793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17930 h 4446494"/>
              <a:gd name="connsiteX0" fmla="*/ 278902 w 6321114"/>
              <a:gd name="connsiteY0" fmla="*/ 17930 h 4446494"/>
              <a:gd name="connsiteX1" fmla="*/ 6321114 w 6321114"/>
              <a:gd name="connsiteY1" fmla="*/ 0 h 4446494"/>
              <a:gd name="connsiteX2" fmla="*/ 6321114 w 6321114"/>
              <a:gd name="connsiteY2" fmla="*/ 4446494 h 4446494"/>
              <a:gd name="connsiteX3" fmla="*/ 278902 w 6321114"/>
              <a:gd name="connsiteY3" fmla="*/ 4446494 h 4446494"/>
              <a:gd name="connsiteX4" fmla="*/ 278902 w 6321114"/>
              <a:gd name="connsiteY4" fmla="*/ 17930 h 4446494"/>
              <a:gd name="connsiteX0" fmla="*/ 293564 w 6335776"/>
              <a:gd name="connsiteY0" fmla="*/ 17930 h 4500282"/>
              <a:gd name="connsiteX1" fmla="*/ 6335776 w 6335776"/>
              <a:gd name="connsiteY1" fmla="*/ 0 h 4500282"/>
              <a:gd name="connsiteX2" fmla="*/ 6335776 w 6335776"/>
              <a:gd name="connsiteY2" fmla="*/ 4446494 h 4500282"/>
              <a:gd name="connsiteX3" fmla="*/ 239776 w 6335776"/>
              <a:gd name="connsiteY3" fmla="*/ 4500282 h 4500282"/>
              <a:gd name="connsiteX4" fmla="*/ 293564 w 6335776"/>
              <a:gd name="connsiteY4" fmla="*/ 17930 h 4500282"/>
              <a:gd name="connsiteX0" fmla="*/ 477596 w 6519808"/>
              <a:gd name="connsiteY0" fmla="*/ 17930 h 4500282"/>
              <a:gd name="connsiteX1" fmla="*/ 6519808 w 6519808"/>
              <a:gd name="connsiteY1" fmla="*/ 0 h 4500282"/>
              <a:gd name="connsiteX2" fmla="*/ 6519808 w 6519808"/>
              <a:gd name="connsiteY2" fmla="*/ 4446494 h 4500282"/>
              <a:gd name="connsiteX3" fmla="*/ 423808 w 6519808"/>
              <a:gd name="connsiteY3" fmla="*/ 4500282 h 4500282"/>
              <a:gd name="connsiteX4" fmla="*/ 477596 w 6519808"/>
              <a:gd name="connsiteY4" fmla="*/ 17930 h 4500282"/>
              <a:gd name="connsiteX0" fmla="*/ 401857 w 6444069"/>
              <a:gd name="connsiteY0" fmla="*/ 17930 h 4500282"/>
              <a:gd name="connsiteX1" fmla="*/ 6444069 w 6444069"/>
              <a:gd name="connsiteY1" fmla="*/ 0 h 4500282"/>
              <a:gd name="connsiteX2" fmla="*/ 6444069 w 6444069"/>
              <a:gd name="connsiteY2" fmla="*/ 4446494 h 4500282"/>
              <a:gd name="connsiteX3" fmla="*/ 348069 w 6444069"/>
              <a:gd name="connsiteY3" fmla="*/ 4500282 h 4500282"/>
              <a:gd name="connsiteX4" fmla="*/ 401857 w 6444069"/>
              <a:gd name="connsiteY4" fmla="*/ 17930 h 4500282"/>
              <a:gd name="connsiteX0" fmla="*/ 283039 w 6325251"/>
              <a:gd name="connsiteY0" fmla="*/ 17930 h 4500282"/>
              <a:gd name="connsiteX1" fmla="*/ 6325251 w 6325251"/>
              <a:gd name="connsiteY1" fmla="*/ 0 h 4500282"/>
              <a:gd name="connsiteX2" fmla="*/ 6325251 w 6325251"/>
              <a:gd name="connsiteY2" fmla="*/ 4446494 h 4500282"/>
              <a:gd name="connsiteX3" fmla="*/ 229251 w 6325251"/>
              <a:gd name="connsiteY3" fmla="*/ 4500282 h 4500282"/>
              <a:gd name="connsiteX4" fmla="*/ 283039 w 6325251"/>
              <a:gd name="connsiteY4" fmla="*/ 17930 h 4500282"/>
              <a:gd name="connsiteX0" fmla="*/ 255115 w 6297327"/>
              <a:gd name="connsiteY0" fmla="*/ 17930 h 4500282"/>
              <a:gd name="connsiteX1" fmla="*/ 6297327 w 6297327"/>
              <a:gd name="connsiteY1" fmla="*/ 0 h 4500282"/>
              <a:gd name="connsiteX2" fmla="*/ 6297327 w 6297327"/>
              <a:gd name="connsiteY2" fmla="*/ 4446494 h 4500282"/>
              <a:gd name="connsiteX3" fmla="*/ 201327 w 6297327"/>
              <a:gd name="connsiteY3" fmla="*/ 4500282 h 4500282"/>
              <a:gd name="connsiteX4" fmla="*/ 255115 w 6297327"/>
              <a:gd name="connsiteY4" fmla="*/ 17930 h 4500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7327" h="4500282">
                <a:moveTo>
                  <a:pt x="255115" y="17930"/>
                </a:moveTo>
                <a:lnTo>
                  <a:pt x="6297327" y="0"/>
                </a:lnTo>
                <a:lnTo>
                  <a:pt x="6297327" y="4446494"/>
                </a:lnTo>
                <a:lnTo>
                  <a:pt x="201327" y="4500282"/>
                </a:lnTo>
                <a:cubicBezTo>
                  <a:pt x="4636" y="3696446"/>
                  <a:pt x="-152470" y="1310345"/>
                  <a:pt x="255115" y="17930"/>
                </a:cubicBezTo>
                <a:close/>
              </a:path>
            </a:pathLst>
          </a:custGeom>
          <a:gradFill>
            <a:gsLst>
              <a:gs pos="0">
                <a:srgbClr val="3A559F"/>
              </a:gs>
              <a:gs pos="100000">
                <a:srgbClr val="41739F"/>
              </a:gs>
            </a:gsLst>
            <a:lin ang="16200000" scaled="0"/>
          </a:gradFill>
          <a:ln w="762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-158746" y="1"/>
            <a:ext cx="10324723" cy="1332196"/>
          </a:xfrm>
          <a:prstGeom prst="rect">
            <a:avLst/>
          </a:prstGeom>
          <a:effectLst/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0">
                <a:solidFill>
                  <a:schemeClr val="bg1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hu-HU" dirty="0" smtClean="0"/>
              <a:t>Digitalizálni nem lehet alibiből </a:t>
            </a:r>
            <a:r>
              <a:rPr lang="mr-IN" dirty="0" smtClean="0"/>
              <a:t>–</a:t>
            </a:r>
            <a:r>
              <a:rPr lang="hu-HU" dirty="0" smtClean="0"/>
              <a:t> </a:t>
            </a:r>
            <a:r>
              <a:rPr lang="hu-HU" dirty="0"/>
              <a:t>B2C</a:t>
            </a:r>
            <a:endParaRPr lang="en-US" dirty="0"/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221" y="324415"/>
            <a:ext cx="1432449" cy="630278"/>
          </a:xfrm>
          <a:prstGeom prst="rect">
            <a:avLst/>
          </a:prstGeom>
        </p:spPr>
      </p:pic>
      <p:cxnSp>
        <p:nvCxnSpPr>
          <p:cNvPr id="8" name="Straight Connector 8"/>
          <p:cNvCxnSpPr/>
          <p:nvPr/>
        </p:nvCxnSpPr>
        <p:spPr>
          <a:xfrm>
            <a:off x="10410095" y="158265"/>
            <a:ext cx="0" cy="90000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gyenes összekötő 10"/>
          <p:cNvCxnSpPr/>
          <p:nvPr/>
        </p:nvCxnSpPr>
        <p:spPr>
          <a:xfrm>
            <a:off x="5969001" y="1431084"/>
            <a:ext cx="0" cy="5495478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8873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343400" y="580292"/>
            <a:ext cx="7526214" cy="5943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SPECIÁLIS DIÁK</a:t>
            </a:r>
            <a:endParaRPr lang="en-US" dirty="0"/>
          </a:p>
        </p:txBody>
      </p:sp>
      <p:sp>
        <p:nvSpPr>
          <p:cNvPr id="5" name="Rectangle 3"/>
          <p:cNvSpPr/>
          <p:nvPr/>
        </p:nvSpPr>
        <p:spPr>
          <a:xfrm rot="16200000">
            <a:off x="5238641" y="-5868109"/>
            <a:ext cx="1719893" cy="12878492"/>
          </a:xfrm>
          <a:custGeom>
            <a:avLst/>
            <a:gdLst>
              <a:gd name="connsiteX0" fmla="*/ 0 w 6042212"/>
              <a:gd name="connsiteY0" fmla="*/ 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0 h 4446494"/>
              <a:gd name="connsiteX0" fmla="*/ 0 w 6042212"/>
              <a:gd name="connsiteY0" fmla="*/ 1793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17930 h 4446494"/>
              <a:gd name="connsiteX0" fmla="*/ 278902 w 6321114"/>
              <a:gd name="connsiteY0" fmla="*/ 17930 h 4446494"/>
              <a:gd name="connsiteX1" fmla="*/ 6321114 w 6321114"/>
              <a:gd name="connsiteY1" fmla="*/ 0 h 4446494"/>
              <a:gd name="connsiteX2" fmla="*/ 6321114 w 6321114"/>
              <a:gd name="connsiteY2" fmla="*/ 4446494 h 4446494"/>
              <a:gd name="connsiteX3" fmla="*/ 278902 w 6321114"/>
              <a:gd name="connsiteY3" fmla="*/ 4446494 h 4446494"/>
              <a:gd name="connsiteX4" fmla="*/ 278902 w 6321114"/>
              <a:gd name="connsiteY4" fmla="*/ 17930 h 4446494"/>
              <a:gd name="connsiteX0" fmla="*/ 293564 w 6335776"/>
              <a:gd name="connsiteY0" fmla="*/ 17930 h 4500282"/>
              <a:gd name="connsiteX1" fmla="*/ 6335776 w 6335776"/>
              <a:gd name="connsiteY1" fmla="*/ 0 h 4500282"/>
              <a:gd name="connsiteX2" fmla="*/ 6335776 w 6335776"/>
              <a:gd name="connsiteY2" fmla="*/ 4446494 h 4500282"/>
              <a:gd name="connsiteX3" fmla="*/ 239776 w 6335776"/>
              <a:gd name="connsiteY3" fmla="*/ 4500282 h 4500282"/>
              <a:gd name="connsiteX4" fmla="*/ 293564 w 6335776"/>
              <a:gd name="connsiteY4" fmla="*/ 17930 h 4500282"/>
              <a:gd name="connsiteX0" fmla="*/ 477596 w 6519808"/>
              <a:gd name="connsiteY0" fmla="*/ 17930 h 4500282"/>
              <a:gd name="connsiteX1" fmla="*/ 6519808 w 6519808"/>
              <a:gd name="connsiteY1" fmla="*/ 0 h 4500282"/>
              <a:gd name="connsiteX2" fmla="*/ 6519808 w 6519808"/>
              <a:gd name="connsiteY2" fmla="*/ 4446494 h 4500282"/>
              <a:gd name="connsiteX3" fmla="*/ 423808 w 6519808"/>
              <a:gd name="connsiteY3" fmla="*/ 4500282 h 4500282"/>
              <a:gd name="connsiteX4" fmla="*/ 477596 w 6519808"/>
              <a:gd name="connsiteY4" fmla="*/ 17930 h 4500282"/>
              <a:gd name="connsiteX0" fmla="*/ 401857 w 6444069"/>
              <a:gd name="connsiteY0" fmla="*/ 17930 h 4500282"/>
              <a:gd name="connsiteX1" fmla="*/ 6444069 w 6444069"/>
              <a:gd name="connsiteY1" fmla="*/ 0 h 4500282"/>
              <a:gd name="connsiteX2" fmla="*/ 6444069 w 6444069"/>
              <a:gd name="connsiteY2" fmla="*/ 4446494 h 4500282"/>
              <a:gd name="connsiteX3" fmla="*/ 348069 w 6444069"/>
              <a:gd name="connsiteY3" fmla="*/ 4500282 h 4500282"/>
              <a:gd name="connsiteX4" fmla="*/ 401857 w 6444069"/>
              <a:gd name="connsiteY4" fmla="*/ 17930 h 4500282"/>
              <a:gd name="connsiteX0" fmla="*/ 283039 w 6325251"/>
              <a:gd name="connsiteY0" fmla="*/ 17930 h 4500282"/>
              <a:gd name="connsiteX1" fmla="*/ 6325251 w 6325251"/>
              <a:gd name="connsiteY1" fmla="*/ 0 h 4500282"/>
              <a:gd name="connsiteX2" fmla="*/ 6325251 w 6325251"/>
              <a:gd name="connsiteY2" fmla="*/ 4446494 h 4500282"/>
              <a:gd name="connsiteX3" fmla="*/ 229251 w 6325251"/>
              <a:gd name="connsiteY3" fmla="*/ 4500282 h 4500282"/>
              <a:gd name="connsiteX4" fmla="*/ 283039 w 6325251"/>
              <a:gd name="connsiteY4" fmla="*/ 17930 h 4500282"/>
              <a:gd name="connsiteX0" fmla="*/ 255115 w 6297327"/>
              <a:gd name="connsiteY0" fmla="*/ 17930 h 4500282"/>
              <a:gd name="connsiteX1" fmla="*/ 6297327 w 6297327"/>
              <a:gd name="connsiteY1" fmla="*/ 0 h 4500282"/>
              <a:gd name="connsiteX2" fmla="*/ 6297327 w 6297327"/>
              <a:gd name="connsiteY2" fmla="*/ 4446494 h 4500282"/>
              <a:gd name="connsiteX3" fmla="*/ 201327 w 6297327"/>
              <a:gd name="connsiteY3" fmla="*/ 4500282 h 4500282"/>
              <a:gd name="connsiteX4" fmla="*/ 255115 w 6297327"/>
              <a:gd name="connsiteY4" fmla="*/ 17930 h 4500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7327" h="4500282">
                <a:moveTo>
                  <a:pt x="255115" y="17930"/>
                </a:moveTo>
                <a:lnTo>
                  <a:pt x="6297327" y="0"/>
                </a:lnTo>
                <a:lnTo>
                  <a:pt x="6297327" y="4446494"/>
                </a:lnTo>
                <a:lnTo>
                  <a:pt x="201327" y="4500282"/>
                </a:lnTo>
                <a:cubicBezTo>
                  <a:pt x="4636" y="3696446"/>
                  <a:pt x="-152470" y="1310345"/>
                  <a:pt x="255115" y="17930"/>
                </a:cubicBezTo>
                <a:close/>
              </a:path>
            </a:pathLst>
          </a:custGeom>
          <a:gradFill>
            <a:gsLst>
              <a:gs pos="0">
                <a:srgbClr val="3A559F"/>
              </a:gs>
              <a:gs pos="100000">
                <a:srgbClr val="41739F"/>
              </a:gs>
            </a:gsLst>
            <a:lin ang="16200000" scaled="0"/>
          </a:gradFill>
          <a:ln w="762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70331" y="1"/>
            <a:ext cx="9995646" cy="1332196"/>
          </a:xfrm>
          <a:prstGeom prst="rect">
            <a:avLst/>
          </a:prstGeom>
          <a:effectLst/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0">
                <a:solidFill>
                  <a:schemeClr val="bg1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hu-HU" dirty="0"/>
              <a:t>Amikor </a:t>
            </a:r>
            <a:r>
              <a:rPr lang="hu-HU" dirty="0" smtClean="0"/>
              <a:t>az üzletnek fontos </a:t>
            </a:r>
            <a:r>
              <a:rPr lang="mr-IN" dirty="0" smtClean="0"/>
              <a:t>–</a:t>
            </a:r>
            <a:r>
              <a:rPr lang="hu-HU" dirty="0" smtClean="0"/>
              <a:t> B2B</a:t>
            </a:r>
            <a:endParaRPr lang="en-US" dirty="0"/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221" y="324415"/>
            <a:ext cx="1432449" cy="630278"/>
          </a:xfrm>
          <a:prstGeom prst="rect">
            <a:avLst/>
          </a:prstGeom>
        </p:spPr>
      </p:pic>
      <p:cxnSp>
        <p:nvCxnSpPr>
          <p:cNvPr id="8" name="Straight Connector 8"/>
          <p:cNvCxnSpPr/>
          <p:nvPr/>
        </p:nvCxnSpPr>
        <p:spPr>
          <a:xfrm>
            <a:off x="10410095" y="158265"/>
            <a:ext cx="0" cy="90000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gyenes összekötő 10"/>
          <p:cNvCxnSpPr/>
          <p:nvPr/>
        </p:nvCxnSpPr>
        <p:spPr>
          <a:xfrm>
            <a:off x="5969001" y="1431084"/>
            <a:ext cx="0" cy="5495478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Diagram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6562837"/>
              </p:ext>
            </p:extLst>
          </p:nvPr>
        </p:nvGraphicFramePr>
        <p:xfrm>
          <a:off x="1922422" y="4027488"/>
          <a:ext cx="4091599" cy="2470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pic>
        <p:nvPicPr>
          <p:cNvPr id="12" name="Picture 2" descr="Képtalálat a következőre: „rose wine bottle”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41570" y="1800226"/>
            <a:ext cx="1166155" cy="1753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3" name="Diagram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0960039"/>
              </p:ext>
            </p:extLst>
          </p:nvPr>
        </p:nvGraphicFramePr>
        <p:xfrm>
          <a:off x="2087591" y="1919289"/>
          <a:ext cx="3793610" cy="2124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cxnSp>
        <p:nvCxnSpPr>
          <p:cNvPr id="14" name="Egyenes összekötő 13"/>
          <p:cNvCxnSpPr/>
          <p:nvPr/>
        </p:nvCxnSpPr>
        <p:spPr bwMode="auto">
          <a:xfrm>
            <a:off x="2818271" y="4826000"/>
            <a:ext cx="1523914" cy="0"/>
          </a:xfrm>
          <a:prstGeom prst="line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5" name="Objektum 14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775742"/>
              </p:ext>
            </p:extLst>
          </p:nvPr>
        </p:nvGraphicFramePr>
        <p:xfrm>
          <a:off x="8001001" y="4038601"/>
          <a:ext cx="1990571" cy="10193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" name="Chart" r:id="rId18" imgW="2488096" imgH="1274261" progId="MSGraph.Chart.8">
                  <p:embed followColorScheme="full"/>
                </p:oleObj>
              </mc:Choice>
              <mc:Fallback>
                <p:oleObj name="Chart" r:id="rId18" imgW="2488096" imgH="127426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8001001" y="4038601"/>
                        <a:ext cx="1990571" cy="10193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40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gray">
          <a:xfrm>
            <a:off x="9560635" y="4140606"/>
            <a:ext cx="3413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0" indent="0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1889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Char char="n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379413" indent="-188913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Char char="l"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571500" indent="-190500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–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7604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2176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48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20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892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747ED89D-DF0B-472A-8F05-76514E263396}" type="datetime'''''''5''''''''''''''''''0''%'''''''''''''''">
              <a:rPr lang="en-GB" altLang="en-US" sz="1200" b="1">
                <a:cs typeface="Arial" panose="020B0604020202020204" pitchFamily="34" charset="0"/>
              </a:rPr>
              <a:pPr/>
              <a:t>50%</a:t>
            </a:fld>
            <a:endParaRPr lang="en-GB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ctangle 40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8780521" y="4584299"/>
            <a:ext cx="3413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0" indent="0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1889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panose="05000000000000000000" pitchFamily="2" charset="2"/>
              <a:buChar char="n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379413" indent="-188913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571500" indent="-190500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7604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2176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48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20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892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69C7637C-E977-4283-814E-56353C6ECD61}" type="datetime'''2''''''''''''''''''''''''''3%'''''''''''''''''''''''''''''''">
              <a:rPr lang="hu-HU" altLang="en-US" sz="1200" b="1">
                <a:latin typeface="+mn-lt"/>
                <a:cs typeface="Arial" panose="020B0604020202020204" pitchFamily="34" charset="0"/>
                <a:sym typeface="+mn-lt"/>
              </a:rPr>
              <a:pPr>
                <a:spcBef>
                  <a:spcPct val="0"/>
                </a:spcBef>
              </a:pPr>
              <a:t>23%</a:t>
            </a:fld>
            <a:endParaRPr lang="hu-HU" sz="1200" b="1" dirty="0"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8" name="Rectangle 40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7269163" y="4467226"/>
            <a:ext cx="7762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1889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Char char="n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379413" indent="-188913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Char char="l"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571500" indent="-190500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–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7604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2176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48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20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892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Bef>
                <a:spcPct val="0"/>
              </a:spcBef>
            </a:pPr>
            <a:fld id="{2692D016-06CE-4A59-B2C4-531E3C9E86C6}" type="datetime'N''''y''''''''''á''r'' ''''''ha''''''''''''t''á''''''''s'''">
              <a:rPr lang="en-GB" altLang="en-US" sz="1200" b="1">
                <a:cs typeface="Arial" panose="020B0604020202020204" pitchFamily="34" charset="0"/>
              </a:rPr>
              <a:pPr/>
              <a:t>Nyár hatás</a:t>
            </a:fld>
            <a:endParaRPr lang="en-GB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ectangle 40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8906958" y="4356572"/>
            <a:ext cx="3413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0" indent="0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1889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Char char="n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379413" indent="-188913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Char char="l"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571500" indent="-190500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–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7604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2176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48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20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892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2E2A3D09-90C2-4DE0-B329-95D645369EC9}" type="datetime'''''''''''''''''27%'''">
              <a:rPr lang="hu-HU" altLang="en-US" sz="1200" b="1">
                <a:cs typeface="Arial" panose="020B0604020202020204" pitchFamily="34" charset="0"/>
              </a:rPr>
              <a:pPr/>
              <a:t>27%</a:t>
            </a:fld>
            <a:endParaRPr lang="hu-HU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Rectangle 4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7877176" y="4195764"/>
            <a:ext cx="1682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1889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Char char="n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379413" indent="-188913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Char char="l"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571500" indent="-190500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–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7604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2176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48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20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892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Bef>
                <a:spcPct val="0"/>
              </a:spcBef>
            </a:pPr>
            <a:fld id="{60FBB41A-B761-43FA-B5E1-5309BEB92499}" type="datetime'''''''''''Á''''''''''''''''''''r'''''''''''''''''''">
              <a:rPr lang="en-GB" altLang="en-US" sz="12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Ár</a:t>
            </a:fld>
            <a:endParaRPr lang="en-GB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ctangle 4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7521576" y="4738689"/>
            <a:ext cx="5238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1889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Char char="n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379413" indent="-188913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Char char="l"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571500" indent="-190500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–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7604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2176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48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20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892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Bef>
                <a:spcPct val="0"/>
              </a:spcBef>
            </a:pPr>
            <a:fld id="{A27E58FC-C000-447E-8AFF-2E929A645B72}" type="datetime'''''''''''''''''Á''''''t''''''''la''''''''''''g''''''á''''r'">
              <a:rPr lang="en-GB" altLang="en-US" sz="1200" b="1">
                <a:cs typeface="Arial" panose="020B0604020202020204" pitchFamily="34" charset="0"/>
              </a:rPr>
              <a:pPr/>
              <a:t>Átlagár</a:t>
            </a:fld>
            <a:endParaRPr lang="en-GB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2" name="Csoportba foglalás 21"/>
          <p:cNvGrpSpPr/>
          <p:nvPr/>
        </p:nvGrpSpPr>
        <p:grpSpPr>
          <a:xfrm>
            <a:off x="1332638" y="1454150"/>
            <a:ext cx="4763363" cy="5284788"/>
            <a:chOff x="182563" y="1716826"/>
            <a:chExt cx="2266946" cy="5158680"/>
          </a:xfrm>
        </p:grpSpPr>
        <p:sp>
          <p:nvSpPr>
            <p:cNvPr id="23" name="Téglalap 22"/>
            <p:cNvSpPr/>
            <p:nvPr/>
          </p:nvSpPr>
          <p:spPr bwMode="auto">
            <a:xfrm>
              <a:off x="182563" y="1909609"/>
              <a:ext cx="2266946" cy="4965897"/>
            </a:xfrm>
            <a:prstGeom prst="rect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008CC8"/>
                </a:buClr>
                <a:buSzPct val="80000"/>
                <a:defRPr/>
              </a:pPr>
              <a:endParaRPr lang="hu-HU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" name="Rectangle 8"/>
            <p:cNvSpPr>
              <a:spLocks noChangeArrowheads="1"/>
            </p:cNvSpPr>
            <p:nvPr/>
          </p:nvSpPr>
          <p:spPr bwMode="auto">
            <a:xfrm>
              <a:off x="182563" y="1716826"/>
              <a:ext cx="2266946" cy="192783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defRPr/>
              </a:pPr>
              <a:r>
                <a:rPr lang="hu-HU" sz="1200" b="1" dirty="0">
                  <a:solidFill>
                    <a:schemeClr val="bg1"/>
                  </a:solidFill>
                </a:rPr>
                <a:t>Árelaszticitás eredmény</a:t>
              </a:r>
            </a:p>
          </p:txBody>
        </p:sp>
      </p:grpSp>
      <p:grpSp>
        <p:nvGrpSpPr>
          <p:cNvPr id="25" name="Csoportba foglalás 24"/>
          <p:cNvGrpSpPr/>
          <p:nvPr/>
        </p:nvGrpSpPr>
        <p:grpSpPr>
          <a:xfrm>
            <a:off x="6301527" y="3908426"/>
            <a:ext cx="4534763" cy="1772133"/>
            <a:chOff x="182563" y="1739251"/>
            <a:chExt cx="2266946" cy="1245771"/>
          </a:xfrm>
        </p:grpSpPr>
        <p:sp>
          <p:nvSpPr>
            <p:cNvPr id="26" name="Téglalap 25"/>
            <p:cNvSpPr/>
            <p:nvPr/>
          </p:nvSpPr>
          <p:spPr bwMode="auto">
            <a:xfrm>
              <a:off x="182563" y="1840214"/>
              <a:ext cx="2266946" cy="1144808"/>
            </a:xfrm>
            <a:prstGeom prst="rect">
              <a:avLst/>
            </a:prstGeom>
            <a:noFill/>
            <a:ln w="952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008CC8"/>
                </a:buClr>
                <a:buSzPct val="80000"/>
                <a:defRPr/>
              </a:pPr>
              <a:endParaRPr lang="hu-HU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7" name="Rectangle 8"/>
            <p:cNvSpPr>
              <a:spLocks noChangeArrowheads="1"/>
            </p:cNvSpPr>
            <p:nvPr/>
          </p:nvSpPr>
          <p:spPr bwMode="auto">
            <a:xfrm>
              <a:off x="182563" y="1739251"/>
              <a:ext cx="2266945" cy="136659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defRPr/>
              </a:pPr>
              <a:r>
                <a:rPr lang="hu-HU" sz="1100" b="1" dirty="0">
                  <a:solidFill>
                    <a:schemeClr val="bg1"/>
                  </a:solidFill>
                </a:rPr>
                <a:t>Modell </a:t>
              </a:r>
              <a:r>
                <a:rPr lang="hu-HU" sz="1200" b="1" dirty="0">
                  <a:solidFill>
                    <a:schemeClr val="bg1"/>
                  </a:solidFill>
                </a:rPr>
                <a:t>eredményei</a:t>
              </a:r>
            </a:p>
          </p:txBody>
        </p:sp>
      </p:grpSp>
      <p:sp>
        <p:nvSpPr>
          <p:cNvPr id="28" name="Rectangle 8"/>
          <p:cNvSpPr>
            <a:spLocks noChangeArrowheads="1"/>
          </p:cNvSpPr>
          <p:nvPr/>
        </p:nvSpPr>
        <p:spPr bwMode="auto">
          <a:xfrm>
            <a:off x="6285638" y="1460500"/>
            <a:ext cx="4534761" cy="1944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3C58A1"/>
              </a:buClr>
              <a:buSzPct val="80000"/>
              <a:defRPr/>
            </a:pPr>
            <a:r>
              <a:rPr lang="hu-HU" sz="1200" b="1" dirty="0">
                <a:solidFill>
                  <a:schemeClr val="bg1"/>
                </a:solidFill>
              </a:rPr>
              <a:t>Következtetések</a:t>
            </a:r>
          </a:p>
        </p:txBody>
      </p:sp>
      <p:grpSp>
        <p:nvGrpSpPr>
          <p:cNvPr id="29" name="Csoportba foglalás 28"/>
          <p:cNvGrpSpPr/>
          <p:nvPr/>
        </p:nvGrpSpPr>
        <p:grpSpPr>
          <a:xfrm>
            <a:off x="6285638" y="5737224"/>
            <a:ext cx="4534761" cy="1001713"/>
            <a:chOff x="5190527" y="5143506"/>
            <a:chExt cx="4534763" cy="956355"/>
          </a:xfrm>
        </p:grpSpPr>
        <p:sp>
          <p:nvSpPr>
            <p:cNvPr id="30" name="Rectangle 8"/>
            <p:cNvSpPr>
              <a:spLocks noChangeArrowheads="1"/>
            </p:cNvSpPr>
            <p:nvPr/>
          </p:nvSpPr>
          <p:spPr bwMode="auto">
            <a:xfrm>
              <a:off x="5190527" y="5143506"/>
              <a:ext cx="4534763" cy="185597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/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3C58A1"/>
                </a:buClr>
                <a:buSzPct val="80000"/>
                <a:defRPr/>
              </a:pPr>
              <a:r>
                <a:rPr lang="hu-HU" sz="1200" b="1" dirty="0">
                  <a:solidFill>
                    <a:schemeClr val="bg1"/>
                  </a:solidFill>
                </a:rPr>
                <a:t>Akciók</a:t>
              </a:r>
            </a:p>
          </p:txBody>
        </p:sp>
        <p:sp>
          <p:nvSpPr>
            <p:cNvPr id="31" name="Rectangle 8"/>
            <p:cNvSpPr>
              <a:spLocks noChangeArrowheads="1"/>
            </p:cNvSpPr>
            <p:nvPr/>
          </p:nvSpPr>
          <p:spPr bwMode="auto">
            <a:xfrm>
              <a:off x="5190527" y="5324629"/>
              <a:ext cx="4534763" cy="77523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wrap="square" lIns="72000" tIns="72000" rIns="72000" bIns="72000" anchor="t"/>
            <a:lstStyle/>
            <a:p>
              <a:pPr marL="171450" indent="-171450" eaLnBrk="0" fontAlgn="base" hangingPunct="0">
                <a:spcAft>
                  <a:spcPct val="0"/>
                </a:spcAft>
                <a:buClr>
                  <a:srgbClr val="008CC8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lang="hu-HU" sz="1100" b="1" dirty="0">
                  <a:solidFill>
                    <a:srgbClr val="000000"/>
                  </a:solidFill>
                </a:rPr>
                <a:t>Költségdiktáló stratégia a saját szegmensében, az árak versenytárs átlagárak alatt tartása.</a:t>
              </a:r>
            </a:p>
            <a:p>
              <a:pPr marL="171450" indent="-171450" eaLnBrk="0" fontAlgn="base" hangingPunct="0">
                <a:spcAft>
                  <a:spcPct val="0"/>
                </a:spcAft>
                <a:buClr>
                  <a:srgbClr val="008CC8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lang="hu-HU" sz="1100" b="1" dirty="0">
                  <a:solidFill>
                    <a:srgbClr val="000000"/>
                  </a:solidFill>
                </a:rPr>
                <a:t>Jelenlegi ár csökkentési az optimális árszintre.</a:t>
              </a:r>
            </a:p>
            <a:p>
              <a:pPr marL="171450" indent="-171450" eaLnBrk="0" fontAlgn="base" hangingPunct="0">
                <a:spcAft>
                  <a:spcPct val="0"/>
                </a:spcAft>
                <a:buClr>
                  <a:srgbClr val="008CC8"/>
                </a:buClr>
                <a:buSzPct val="80000"/>
                <a:buFont typeface="Arial" panose="020B0604020202020204" pitchFamily="34" charset="0"/>
                <a:buChar char="•"/>
                <a:defRPr/>
              </a:pPr>
              <a:r>
                <a:rPr lang="hu-HU" sz="1100" b="1" dirty="0">
                  <a:solidFill>
                    <a:srgbClr val="000000"/>
                  </a:solidFill>
                </a:rPr>
                <a:t>Árazás igazítása a szezonális kereslethez.</a:t>
              </a:r>
            </a:p>
          </p:txBody>
        </p:sp>
      </p:grpSp>
      <p:grpSp>
        <p:nvGrpSpPr>
          <p:cNvPr id="32" name="Csoportba foglalás 31"/>
          <p:cNvGrpSpPr/>
          <p:nvPr/>
        </p:nvGrpSpPr>
        <p:grpSpPr>
          <a:xfrm>
            <a:off x="6301526" y="1673225"/>
            <a:ext cx="4513478" cy="305644"/>
            <a:chOff x="5180798" y="1720724"/>
            <a:chExt cx="4513478" cy="305644"/>
          </a:xfrm>
        </p:grpSpPr>
        <p:sp>
          <p:nvSpPr>
            <p:cNvPr id="33" name="Rectangle 8"/>
            <p:cNvSpPr>
              <a:spLocks noChangeArrowheads="1"/>
            </p:cNvSpPr>
            <p:nvPr/>
          </p:nvSpPr>
          <p:spPr bwMode="auto">
            <a:xfrm>
              <a:off x="5498571" y="1728911"/>
              <a:ext cx="4195705" cy="2851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2"/>
              </a:solidFill>
              <a:prstDash val="dash"/>
              <a:round/>
              <a:headEnd/>
              <a:tailEnd/>
            </a:ln>
          </p:spPr>
          <p:txBody>
            <a:bodyPr wrap="square" lIns="72000" tIns="72000" rIns="72000" bIns="72000" anchor="t"/>
            <a:lstStyle/>
            <a:p>
              <a:pPr eaLnBrk="0" fontAlgn="base" hangingPunct="0">
                <a:spcAft>
                  <a:spcPct val="0"/>
                </a:spcAft>
                <a:buClr>
                  <a:srgbClr val="008CC8"/>
                </a:buClr>
                <a:buSzPct val="80000"/>
                <a:defRPr/>
              </a:pPr>
              <a:r>
                <a:rPr lang="hu-HU" sz="1100" b="1" dirty="0">
                  <a:solidFill>
                    <a:srgbClr val="000000"/>
                  </a:solidFill>
                </a:rPr>
                <a:t>Erősen </a:t>
              </a:r>
              <a:r>
                <a:rPr lang="hu-HU" sz="1100" b="1" dirty="0" err="1">
                  <a:solidFill>
                    <a:srgbClr val="000000"/>
                  </a:solidFill>
                </a:rPr>
                <a:t>árérzékeny</a:t>
              </a:r>
              <a:r>
                <a:rPr lang="hu-HU" sz="1100" b="1" dirty="0">
                  <a:solidFill>
                    <a:srgbClr val="000000"/>
                  </a:solidFill>
                </a:rPr>
                <a:t> termék.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34" name="Téglalap 33"/>
            <p:cNvSpPr/>
            <p:nvPr/>
          </p:nvSpPr>
          <p:spPr bwMode="auto">
            <a:xfrm>
              <a:off x="5180798" y="1720724"/>
              <a:ext cx="263340" cy="305644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hu-HU" sz="1400" b="1" dirty="0"/>
                <a:t>1</a:t>
              </a:r>
              <a:endParaRPr lang="en-GB" sz="1400" b="1" dirty="0" err="1"/>
            </a:p>
          </p:txBody>
        </p:sp>
      </p:grpSp>
      <p:sp>
        <p:nvSpPr>
          <p:cNvPr id="35" name="Szövegdoboz 34"/>
          <p:cNvSpPr txBox="1"/>
          <p:nvPr/>
        </p:nvSpPr>
        <p:spPr>
          <a:xfrm>
            <a:off x="2503545" y="1697038"/>
            <a:ext cx="3571971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hu-HU" sz="1100" dirty="0"/>
              <a:t>-3,7 * </a:t>
            </a:r>
            <a:r>
              <a:rPr lang="hu-HU" sz="1100" dirty="0" err="1"/>
              <a:t>ln</a:t>
            </a:r>
            <a:r>
              <a:rPr lang="hu-HU" sz="1100" dirty="0"/>
              <a:t>(</a:t>
            </a:r>
            <a:r>
              <a:rPr lang="hu-HU" sz="1100" b="1" dirty="0" err="1"/>
              <a:t>ar</a:t>
            </a:r>
            <a:r>
              <a:rPr lang="hu-HU" sz="1100" dirty="0"/>
              <a:t>) + 1,9 * </a:t>
            </a:r>
            <a:r>
              <a:rPr lang="hu-HU" sz="1100" dirty="0" err="1"/>
              <a:t>ln</a:t>
            </a:r>
            <a:r>
              <a:rPr lang="hu-HU" sz="1100" dirty="0"/>
              <a:t>(</a:t>
            </a:r>
            <a:r>
              <a:rPr lang="hu-HU" sz="1100" b="1" dirty="0" err="1"/>
              <a:t>atlagar</a:t>
            </a:r>
            <a:r>
              <a:rPr lang="hu-HU" sz="1100" dirty="0"/>
              <a:t>) + 0,6 </a:t>
            </a:r>
            <a:r>
              <a:rPr lang="hu-HU" sz="1100" b="1" dirty="0" err="1"/>
              <a:t>nyar_flag</a:t>
            </a:r>
            <a:r>
              <a:rPr lang="hu-HU" sz="1100" dirty="0"/>
              <a:t> + 20,9</a:t>
            </a:r>
          </a:p>
        </p:txBody>
      </p:sp>
      <p:sp>
        <p:nvSpPr>
          <p:cNvPr id="36" name="Szövegdoboz 35"/>
          <p:cNvSpPr txBox="1"/>
          <p:nvPr/>
        </p:nvSpPr>
        <p:spPr>
          <a:xfrm>
            <a:off x="6285638" y="5459414"/>
            <a:ext cx="45347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00" dirty="0"/>
              <a:t>A modell pontosságát kiigazított R^2 mutatóval mértük.</a:t>
            </a:r>
          </a:p>
        </p:txBody>
      </p:sp>
      <p:grpSp>
        <p:nvGrpSpPr>
          <p:cNvPr id="37" name="Csoportba foglalás 36"/>
          <p:cNvGrpSpPr/>
          <p:nvPr/>
        </p:nvGrpSpPr>
        <p:grpSpPr>
          <a:xfrm>
            <a:off x="6301526" y="2049464"/>
            <a:ext cx="4513478" cy="666717"/>
            <a:chOff x="5222984" y="2082445"/>
            <a:chExt cx="4513478" cy="666717"/>
          </a:xfrm>
        </p:grpSpPr>
        <p:sp>
          <p:nvSpPr>
            <p:cNvPr id="38" name="Rectangle 8"/>
            <p:cNvSpPr>
              <a:spLocks noChangeArrowheads="1"/>
            </p:cNvSpPr>
            <p:nvPr/>
          </p:nvSpPr>
          <p:spPr bwMode="auto">
            <a:xfrm>
              <a:off x="5540757" y="2082445"/>
              <a:ext cx="4195705" cy="66671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2"/>
              </a:solidFill>
              <a:prstDash val="dash"/>
              <a:round/>
              <a:headEnd/>
              <a:tailEnd/>
            </a:ln>
          </p:spPr>
          <p:txBody>
            <a:bodyPr wrap="square" lIns="72000" tIns="72000" rIns="72000" bIns="72000" anchor="t"/>
            <a:lstStyle/>
            <a:p>
              <a:pPr eaLnBrk="0" fontAlgn="base" hangingPunct="0">
                <a:spcAft>
                  <a:spcPct val="0"/>
                </a:spcAft>
                <a:buClr>
                  <a:srgbClr val="008CC8"/>
                </a:buClr>
                <a:buSzPct val="80000"/>
                <a:defRPr/>
              </a:pPr>
              <a:r>
                <a:rPr lang="hu-HU" sz="1100" b="1" dirty="0">
                  <a:solidFill>
                    <a:srgbClr val="000000"/>
                  </a:solidFill>
                </a:rPr>
                <a:t>Erős árérzékenység a versenytárs </a:t>
              </a:r>
              <a:r>
                <a:rPr lang="hu-HU" sz="1100" b="1" dirty="0" err="1">
                  <a:solidFill>
                    <a:srgbClr val="000000"/>
                  </a:solidFill>
                </a:rPr>
                <a:t>áraira</a:t>
              </a:r>
              <a:r>
                <a:rPr lang="hu-HU" sz="1100" b="1" dirty="0">
                  <a:solidFill>
                    <a:srgbClr val="000000"/>
                  </a:solidFill>
                </a:rPr>
                <a:t/>
              </a:r>
              <a:br>
                <a:rPr lang="hu-HU" sz="1100" b="1" dirty="0">
                  <a:solidFill>
                    <a:srgbClr val="000000"/>
                  </a:solidFill>
                </a:rPr>
              </a:br>
              <a:r>
                <a:rPr lang="hu-HU" sz="1100" dirty="0">
                  <a:solidFill>
                    <a:srgbClr val="000000"/>
                  </a:solidFill>
                </a:rPr>
                <a:t>(A konkurens termékek átlagárának 1%-</a:t>
              </a:r>
              <a:r>
                <a:rPr lang="hu-HU" sz="1100" dirty="0" err="1">
                  <a:solidFill>
                    <a:srgbClr val="000000"/>
                  </a:solidFill>
                </a:rPr>
                <a:t>os</a:t>
              </a:r>
              <a:r>
                <a:rPr lang="hu-HU" sz="1100" dirty="0">
                  <a:solidFill>
                    <a:srgbClr val="000000"/>
                  </a:solidFill>
                </a:rPr>
                <a:t> növekedése 1,9%-</a:t>
              </a:r>
              <a:r>
                <a:rPr lang="hu-HU" sz="1100" dirty="0" err="1">
                  <a:solidFill>
                    <a:srgbClr val="000000"/>
                  </a:solidFill>
                </a:rPr>
                <a:t>kal</a:t>
              </a:r>
              <a:r>
                <a:rPr lang="hu-HU" sz="1100" dirty="0">
                  <a:solidFill>
                    <a:srgbClr val="000000"/>
                  </a:solidFill>
                </a:rPr>
                <a:t> növeli az eladott mennyiséget.)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39" name="Téglalap 38"/>
            <p:cNvSpPr/>
            <p:nvPr/>
          </p:nvSpPr>
          <p:spPr bwMode="auto">
            <a:xfrm>
              <a:off x="5222984" y="2243277"/>
              <a:ext cx="263340" cy="305644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hu-HU" sz="1400" b="1" dirty="0"/>
                <a:t>2</a:t>
              </a:r>
              <a:endParaRPr lang="en-GB" sz="1400" b="1" dirty="0" err="1"/>
            </a:p>
          </p:txBody>
        </p:sp>
      </p:grpSp>
      <p:grpSp>
        <p:nvGrpSpPr>
          <p:cNvPr id="40" name="Csoportba foglalás 39"/>
          <p:cNvGrpSpPr/>
          <p:nvPr/>
        </p:nvGrpSpPr>
        <p:grpSpPr>
          <a:xfrm>
            <a:off x="6301526" y="2787650"/>
            <a:ext cx="4513478" cy="305644"/>
            <a:chOff x="5193716" y="1728911"/>
            <a:chExt cx="4513478" cy="305644"/>
          </a:xfrm>
        </p:grpSpPr>
        <p:sp>
          <p:nvSpPr>
            <p:cNvPr id="41" name="Rectangle 8"/>
            <p:cNvSpPr>
              <a:spLocks noChangeArrowheads="1"/>
            </p:cNvSpPr>
            <p:nvPr/>
          </p:nvSpPr>
          <p:spPr bwMode="auto">
            <a:xfrm>
              <a:off x="5511489" y="1728911"/>
              <a:ext cx="4195705" cy="30564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2"/>
              </a:solidFill>
              <a:prstDash val="dash"/>
              <a:round/>
              <a:headEnd/>
              <a:tailEnd/>
            </a:ln>
          </p:spPr>
          <p:txBody>
            <a:bodyPr wrap="square" lIns="72000" tIns="72000" rIns="72000" bIns="72000" anchor="t"/>
            <a:lstStyle/>
            <a:p>
              <a:pPr>
                <a:buClr>
                  <a:srgbClr val="008CC8"/>
                </a:buClr>
                <a:defRPr/>
              </a:pPr>
              <a:r>
                <a:rPr lang="hu-HU" sz="1100" b="1" dirty="0">
                  <a:solidFill>
                    <a:srgbClr val="000000"/>
                  </a:solidFill>
                </a:rPr>
                <a:t>A nyári hónapokban magasabb az értékesítés.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42" name="Téglalap 41"/>
            <p:cNvSpPr/>
            <p:nvPr/>
          </p:nvSpPr>
          <p:spPr bwMode="auto">
            <a:xfrm>
              <a:off x="5193716" y="1728911"/>
              <a:ext cx="263340" cy="305644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hu-HU" sz="1400" b="1" dirty="0"/>
                <a:t>3</a:t>
              </a:r>
              <a:endParaRPr lang="en-GB" sz="1400" b="1" dirty="0" err="1"/>
            </a:p>
          </p:txBody>
        </p:sp>
      </p:grpSp>
      <p:sp>
        <p:nvSpPr>
          <p:cNvPr id="43" name="Ellipszis 42"/>
          <p:cNvSpPr/>
          <p:nvPr/>
        </p:nvSpPr>
        <p:spPr bwMode="auto">
          <a:xfrm>
            <a:off x="2719358" y="2357438"/>
            <a:ext cx="314150" cy="865204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hu-HU" dirty="0" err="1">
              <a:latin typeface="Arial" charset="0"/>
            </a:endParaRPr>
          </a:p>
        </p:txBody>
      </p:sp>
      <p:grpSp>
        <p:nvGrpSpPr>
          <p:cNvPr id="44" name="Csoportba foglalás 43"/>
          <p:cNvGrpSpPr/>
          <p:nvPr/>
        </p:nvGrpSpPr>
        <p:grpSpPr>
          <a:xfrm>
            <a:off x="6301527" y="3163888"/>
            <a:ext cx="4513477" cy="305644"/>
            <a:chOff x="5193716" y="1728911"/>
            <a:chExt cx="4513477" cy="305644"/>
          </a:xfrm>
        </p:grpSpPr>
        <p:sp>
          <p:nvSpPr>
            <p:cNvPr id="45" name="Rectangle 8"/>
            <p:cNvSpPr>
              <a:spLocks noChangeArrowheads="1"/>
            </p:cNvSpPr>
            <p:nvPr/>
          </p:nvSpPr>
          <p:spPr bwMode="auto">
            <a:xfrm>
              <a:off x="5506094" y="1728911"/>
              <a:ext cx="4201099" cy="30564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2"/>
              </a:solidFill>
              <a:prstDash val="dash"/>
              <a:round/>
              <a:headEnd/>
              <a:tailEnd/>
            </a:ln>
          </p:spPr>
          <p:txBody>
            <a:bodyPr wrap="square" lIns="72000" tIns="72000" rIns="72000" bIns="72000" anchor="t"/>
            <a:lstStyle/>
            <a:p>
              <a:pPr>
                <a:buClr>
                  <a:srgbClr val="008CC8"/>
                </a:buClr>
                <a:defRPr/>
              </a:pPr>
              <a:r>
                <a:rPr lang="hu-HU" sz="1100" b="1" dirty="0">
                  <a:solidFill>
                    <a:srgbClr val="000000"/>
                  </a:solidFill>
                </a:rPr>
                <a:t>Készlethiány miatti </a:t>
              </a:r>
              <a:r>
                <a:rPr lang="hu-HU" sz="1100" b="1" dirty="0" err="1">
                  <a:solidFill>
                    <a:srgbClr val="000000"/>
                  </a:solidFill>
                </a:rPr>
                <a:t>alulértékesítés</a:t>
              </a:r>
              <a:r>
                <a:rPr lang="hu-HU" sz="1100" dirty="0">
                  <a:solidFill>
                    <a:srgbClr val="000000"/>
                  </a:solidFill>
                </a:rPr>
                <a:t>, kiszűrendő a modellből.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46" name="Téglalap 45"/>
            <p:cNvSpPr/>
            <p:nvPr/>
          </p:nvSpPr>
          <p:spPr bwMode="auto">
            <a:xfrm>
              <a:off x="5193716" y="1728911"/>
              <a:ext cx="263340" cy="305644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hu-HU" sz="1400" b="1" dirty="0"/>
                <a:t>4</a:t>
              </a:r>
              <a:endParaRPr lang="en-GB" sz="1400" b="1" dirty="0" err="1"/>
            </a:p>
          </p:txBody>
        </p:sp>
      </p:grpSp>
      <p:cxnSp>
        <p:nvCxnSpPr>
          <p:cNvPr id="47" name="Egyenes összekötő 46"/>
          <p:cNvCxnSpPr/>
          <p:nvPr/>
        </p:nvCxnSpPr>
        <p:spPr bwMode="auto">
          <a:xfrm>
            <a:off x="4259455" y="2841625"/>
            <a:ext cx="27575" cy="3119260"/>
          </a:xfrm>
          <a:prstGeom prst="line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" name="Téglalap 47"/>
          <p:cNvSpPr/>
          <p:nvPr/>
        </p:nvSpPr>
        <p:spPr bwMode="auto">
          <a:xfrm>
            <a:off x="4872492" y="5459414"/>
            <a:ext cx="1136854" cy="23902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r>
              <a:rPr lang="hu-HU" sz="1200" b="1" dirty="0">
                <a:latin typeface="Arial" charset="0"/>
              </a:rPr>
              <a:t>margin</a:t>
            </a:r>
          </a:p>
        </p:txBody>
      </p:sp>
      <p:sp>
        <p:nvSpPr>
          <p:cNvPr id="49" name="Téglalap 48"/>
          <p:cNvSpPr/>
          <p:nvPr/>
        </p:nvSpPr>
        <p:spPr bwMode="auto">
          <a:xfrm>
            <a:off x="4568851" y="4097339"/>
            <a:ext cx="1136854" cy="23902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r>
              <a:rPr lang="hu-HU" sz="1200" b="1" dirty="0">
                <a:latin typeface="Arial" charset="0"/>
              </a:rPr>
              <a:t>forgalom</a:t>
            </a:r>
          </a:p>
        </p:txBody>
      </p:sp>
      <p:sp>
        <p:nvSpPr>
          <p:cNvPr id="50" name="Téglalap 49"/>
          <p:cNvSpPr/>
          <p:nvPr/>
        </p:nvSpPr>
        <p:spPr bwMode="auto">
          <a:xfrm>
            <a:off x="4259454" y="3006874"/>
            <a:ext cx="1136854" cy="23902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r>
              <a:rPr lang="hu-HU" sz="1200" b="1" dirty="0"/>
              <a:t>b</a:t>
            </a:r>
            <a:r>
              <a:rPr lang="hu-HU" sz="1200" b="1" dirty="0">
                <a:latin typeface="Arial" charset="0"/>
              </a:rPr>
              <a:t>eszerzési ár</a:t>
            </a:r>
          </a:p>
        </p:txBody>
      </p:sp>
      <p:sp>
        <p:nvSpPr>
          <p:cNvPr id="51" name="Téglalap 50"/>
          <p:cNvSpPr/>
          <p:nvPr/>
        </p:nvSpPr>
        <p:spPr bwMode="auto">
          <a:xfrm>
            <a:off x="4746600" y="2588567"/>
            <a:ext cx="781806" cy="29033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r>
              <a:rPr lang="hu-HU" sz="1200" b="1" dirty="0"/>
              <a:t>kereslet</a:t>
            </a:r>
            <a:endParaRPr lang="hu-HU" sz="1200" b="1" dirty="0">
              <a:latin typeface="Arial" charset="0"/>
            </a:endParaRPr>
          </a:p>
        </p:txBody>
      </p:sp>
      <p:sp>
        <p:nvSpPr>
          <p:cNvPr id="52" name="Téglalap 51"/>
          <p:cNvSpPr/>
          <p:nvPr/>
        </p:nvSpPr>
        <p:spPr bwMode="auto">
          <a:xfrm>
            <a:off x="2938017" y="3151188"/>
            <a:ext cx="239667" cy="252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hu-HU" sz="1400" b="1" dirty="0"/>
              <a:t>4</a:t>
            </a:r>
            <a:endParaRPr lang="en-GB" sz="1400" b="1" dirty="0" err="1"/>
          </a:p>
        </p:txBody>
      </p:sp>
      <p:sp>
        <p:nvSpPr>
          <p:cNvPr id="53" name="Ellipszis 52"/>
          <p:cNvSpPr/>
          <p:nvPr/>
        </p:nvSpPr>
        <p:spPr bwMode="auto">
          <a:xfrm>
            <a:off x="4212897" y="4795839"/>
            <a:ext cx="120691" cy="105591"/>
          </a:xfrm>
          <a:prstGeom prst="ellipse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hu-HU" dirty="0" err="1">
              <a:latin typeface="Arial" charset="0"/>
            </a:endParaRPr>
          </a:p>
        </p:txBody>
      </p:sp>
      <p:sp>
        <p:nvSpPr>
          <p:cNvPr id="54" name="Ellipszis 53"/>
          <p:cNvSpPr/>
          <p:nvPr/>
        </p:nvSpPr>
        <p:spPr bwMode="auto">
          <a:xfrm>
            <a:off x="4212897" y="5594351"/>
            <a:ext cx="120691" cy="105591"/>
          </a:xfrm>
          <a:prstGeom prst="ellipse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hu-HU" dirty="0" err="1">
              <a:latin typeface="Arial" charset="0"/>
            </a:endParaRPr>
          </a:p>
        </p:txBody>
      </p:sp>
      <p:sp>
        <p:nvSpPr>
          <p:cNvPr id="55" name="Téglalap 54"/>
          <p:cNvSpPr/>
          <p:nvPr/>
        </p:nvSpPr>
        <p:spPr bwMode="auto">
          <a:xfrm>
            <a:off x="4465653" y="5191125"/>
            <a:ext cx="1136854" cy="14994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r>
              <a:rPr lang="hu-HU" sz="1050" b="1" dirty="0" err="1">
                <a:solidFill>
                  <a:srgbClr val="92D050"/>
                </a:solidFill>
              </a:rPr>
              <a:t>max</a:t>
            </a:r>
            <a:r>
              <a:rPr lang="hu-HU" sz="1050" b="1" dirty="0">
                <a:solidFill>
                  <a:srgbClr val="92D050"/>
                </a:solidFill>
              </a:rPr>
              <a:t> margin</a:t>
            </a:r>
          </a:p>
        </p:txBody>
      </p:sp>
      <p:cxnSp>
        <p:nvCxnSpPr>
          <p:cNvPr id="56" name="Egyenes összekötő nyíllal 55"/>
          <p:cNvCxnSpPr/>
          <p:nvPr/>
        </p:nvCxnSpPr>
        <p:spPr bwMode="auto">
          <a:xfrm flipH="1">
            <a:off x="4406402" y="5414964"/>
            <a:ext cx="260564" cy="146147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Téglalap 56"/>
          <p:cNvSpPr/>
          <p:nvPr/>
        </p:nvSpPr>
        <p:spPr bwMode="auto">
          <a:xfrm>
            <a:off x="5434849" y="5132388"/>
            <a:ext cx="239667" cy="252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hu-HU" sz="1400" b="1" dirty="0"/>
              <a:t>5</a:t>
            </a:r>
            <a:endParaRPr lang="en-GB" sz="1400" b="1" dirty="0" err="1"/>
          </a:p>
        </p:txBody>
      </p:sp>
      <p:sp>
        <p:nvSpPr>
          <p:cNvPr id="58" name="Téglalap 57"/>
          <p:cNvSpPr/>
          <p:nvPr/>
        </p:nvSpPr>
        <p:spPr bwMode="auto">
          <a:xfrm>
            <a:off x="3100850" y="1943100"/>
            <a:ext cx="239667" cy="252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hu-HU" sz="1400" b="1" dirty="0"/>
              <a:t>1</a:t>
            </a:r>
            <a:endParaRPr lang="en-GB" sz="1400" b="1" dirty="0" err="1"/>
          </a:p>
        </p:txBody>
      </p:sp>
      <p:sp>
        <p:nvSpPr>
          <p:cNvPr id="59" name="Téglalap 58"/>
          <p:cNvSpPr/>
          <p:nvPr/>
        </p:nvSpPr>
        <p:spPr bwMode="auto">
          <a:xfrm>
            <a:off x="3987542" y="1943100"/>
            <a:ext cx="239667" cy="252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hu-HU" sz="1400" b="1" dirty="0"/>
              <a:t>2</a:t>
            </a:r>
            <a:endParaRPr lang="en-GB" sz="1400" b="1" dirty="0" err="1"/>
          </a:p>
        </p:txBody>
      </p:sp>
      <p:sp>
        <p:nvSpPr>
          <p:cNvPr id="60" name="Szövegdoboz 59"/>
          <p:cNvSpPr txBox="1"/>
          <p:nvPr/>
        </p:nvSpPr>
        <p:spPr>
          <a:xfrm>
            <a:off x="1366838" y="6357213"/>
            <a:ext cx="47291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000" dirty="0"/>
              <a:t>Beszerzési ár = 660 Ft és konkurens termékek átlagára = 912 Ft, nyári hónapok esetén </a:t>
            </a:r>
            <a:r>
              <a:rPr lang="hu-HU" sz="1000" dirty="0" err="1"/>
              <a:t>ceteris</a:t>
            </a:r>
            <a:r>
              <a:rPr lang="hu-HU" sz="1000" dirty="0"/>
              <a:t> </a:t>
            </a:r>
            <a:r>
              <a:rPr lang="hu-HU" sz="1000" dirty="0" err="1"/>
              <a:t>paribus</a:t>
            </a:r>
            <a:endParaRPr lang="hu-HU" sz="1000" dirty="0"/>
          </a:p>
        </p:txBody>
      </p:sp>
      <p:cxnSp>
        <p:nvCxnSpPr>
          <p:cNvPr id="61" name="Egyenes összekötő 60"/>
          <p:cNvCxnSpPr/>
          <p:nvPr/>
        </p:nvCxnSpPr>
        <p:spPr bwMode="auto">
          <a:xfrm flipH="1" flipV="1">
            <a:off x="2818271" y="2841626"/>
            <a:ext cx="1404114" cy="9633"/>
          </a:xfrm>
          <a:prstGeom prst="line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2" name="Téglalap 61"/>
          <p:cNvSpPr/>
          <p:nvPr/>
        </p:nvSpPr>
        <p:spPr bwMode="auto">
          <a:xfrm>
            <a:off x="4997192" y="1943100"/>
            <a:ext cx="239667" cy="252000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hu-HU" sz="1400" b="1" dirty="0"/>
              <a:t>3</a:t>
            </a:r>
            <a:endParaRPr lang="en-GB" sz="1400" b="1" dirty="0" err="1"/>
          </a:p>
        </p:txBody>
      </p:sp>
      <p:grpSp>
        <p:nvGrpSpPr>
          <p:cNvPr id="63" name="Csoportba foglalás 62"/>
          <p:cNvGrpSpPr/>
          <p:nvPr/>
        </p:nvGrpSpPr>
        <p:grpSpPr>
          <a:xfrm>
            <a:off x="6306922" y="3540125"/>
            <a:ext cx="4513477" cy="305644"/>
            <a:chOff x="5193716" y="1728911"/>
            <a:chExt cx="4513477" cy="305644"/>
          </a:xfrm>
        </p:grpSpPr>
        <p:sp>
          <p:nvSpPr>
            <p:cNvPr id="64" name="Rectangle 8"/>
            <p:cNvSpPr>
              <a:spLocks noChangeArrowheads="1"/>
            </p:cNvSpPr>
            <p:nvPr/>
          </p:nvSpPr>
          <p:spPr bwMode="auto">
            <a:xfrm>
              <a:off x="5506094" y="1728911"/>
              <a:ext cx="4201099" cy="30564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2"/>
              </a:solidFill>
              <a:prstDash val="dash"/>
              <a:round/>
              <a:headEnd/>
              <a:tailEnd/>
            </a:ln>
          </p:spPr>
          <p:txBody>
            <a:bodyPr wrap="square" lIns="72000" tIns="72000" rIns="72000" bIns="72000" anchor="t"/>
            <a:lstStyle/>
            <a:p>
              <a:pPr>
                <a:buClr>
                  <a:srgbClr val="008CC8"/>
                </a:buClr>
                <a:defRPr/>
              </a:pPr>
              <a:r>
                <a:rPr lang="hu-HU" sz="1100" b="1" dirty="0">
                  <a:solidFill>
                    <a:srgbClr val="000000"/>
                  </a:solidFill>
                </a:rPr>
                <a:t>Megállapítható a margin-t maximalizáló ár.</a:t>
              </a:r>
              <a:endParaRPr lang="en-US" sz="1100" b="1" dirty="0">
                <a:solidFill>
                  <a:srgbClr val="000000"/>
                </a:solidFill>
              </a:endParaRPr>
            </a:p>
          </p:txBody>
        </p:sp>
        <p:sp>
          <p:nvSpPr>
            <p:cNvPr id="65" name="Téglalap 64"/>
            <p:cNvSpPr/>
            <p:nvPr/>
          </p:nvSpPr>
          <p:spPr bwMode="auto">
            <a:xfrm>
              <a:off x="5193716" y="1728911"/>
              <a:ext cx="263340" cy="305644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hu-HU" sz="1400" b="1" dirty="0"/>
                <a:t>5</a:t>
              </a:r>
              <a:endParaRPr lang="en-GB" sz="1400" b="1" dirty="0" err="1"/>
            </a:p>
          </p:txBody>
        </p:sp>
      </p:grpSp>
      <p:graphicFrame>
        <p:nvGraphicFramePr>
          <p:cNvPr id="66" name="Objektum 65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858704846"/>
              </p:ext>
            </p:extLst>
          </p:nvPr>
        </p:nvGraphicFramePr>
        <p:xfrm>
          <a:off x="8001001" y="4953000"/>
          <a:ext cx="1990571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Chart" r:id="rId20" imgW="2488096" imgH="1142853" progId="MSGraph.Chart.8">
                  <p:embed followColorScheme="full"/>
                </p:oleObj>
              </mc:Choice>
              <mc:Fallback>
                <p:oleObj name="Chart" r:id="rId20" imgW="2488096" imgH="114285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8001001" y="4953000"/>
                        <a:ext cx="1990571" cy="914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Rectangle 40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9555631" y="5065837"/>
            <a:ext cx="3413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numCol="1" spcCol="0" anchor="ctr" anchorCtr="0">
            <a:noAutofit/>
          </a:bodyPr>
          <a:lstStyle>
            <a:lvl1pPr marL="0" indent="0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1889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Char char="n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379413" indent="-188913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Char char="l"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571500" indent="-190500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–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7604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2176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48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20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892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ct val="0"/>
              </a:spcBef>
            </a:pPr>
            <a:fld id="{07F989CC-9958-4CC0-A875-97190191F0C8}" type="datetime'8''''''''''''''''''''''''''''''6''''''''''''''''''%'''''">
              <a:rPr lang="en-GB" altLang="en-US" sz="1200" b="1">
                <a:cs typeface="Arial" panose="020B0604020202020204" pitchFamily="34" charset="0"/>
              </a:rPr>
              <a:pPr/>
              <a:t>86%</a:t>
            </a:fld>
            <a:endParaRPr lang="en-GB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Rectangle 40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6662739" y="5124451"/>
            <a:ext cx="13827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1889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Char char="n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379413" indent="-188913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Char char="l"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571500" indent="-190500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–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7604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lang="de-DE" sz="1800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2176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6pPr>
            <a:lvl7pPr marL="16748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7pPr>
            <a:lvl8pPr marL="21320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8pPr>
            <a:lvl9pPr marL="2589213" indent="-187325" algn="l" defTabSz="857250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spcBef>
                <a:spcPct val="0"/>
              </a:spcBef>
            </a:pPr>
            <a:fld id="{DA14FD2C-20F2-40A9-8447-C00D609FCBA7}" type="datetime'M''''''o''d''el''l'' ''''''p''o''''n''''''tos''s''''á''''ga'''">
              <a:rPr lang="en-GB" altLang="en-US" sz="1200" b="1">
                <a:cs typeface="Arial" panose="020B0604020202020204" pitchFamily="34" charset="0"/>
              </a:rPr>
              <a:pPr/>
              <a:t>Modell pontossága</a:t>
            </a:fld>
            <a:endParaRPr lang="en-GB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Szövegdoboz 68"/>
          <p:cNvSpPr txBox="1"/>
          <p:nvPr/>
        </p:nvSpPr>
        <p:spPr>
          <a:xfrm rot="1305945">
            <a:off x="10555723" y="1730971"/>
            <a:ext cx="1565158" cy="430887"/>
          </a:xfrm>
          <a:prstGeom prst="rect">
            <a:avLst/>
          </a:prstGeom>
          <a:solidFill>
            <a:srgbClr val="FFC000"/>
          </a:solidFill>
          <a:ln>
            <a:solidFill>
              <a:schemeClr val="accent1"/>
            </a:solidFill>
            <a:prstDash val="dash"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hu-HU" sz="1100" b="1" dirty="0">
                <a:solidFill>
                  <a:schemeClr val="bg1"/>
                </a:solidFill>
              </a:rPr>
              <a:t>Külső  kassza </a:t>
            </a:r>
          </a:p>
          <a:p>
            <a:pPr algn="ctr"/>
            <a:r>
              <a:rPr lang="hu-HU" sz="1100" b="1" dirty="0">
                <a:solidFill>
                  <a:schemeClr val="bg1"/>
                </a:solidFill>
              </a:rPr>
              <a:t>adatok alapján</a:t>
            </a:r>
          </a:p>
        </p:txBody>
      </p:sp>
      <p:sp>
        <p:nvSpPr>
          <p:cNvPr id="70" name="Szövegdoboz 69">
            <a:extLst>
              <a:ext uri="{FF2B5EF4-FFF2-40B4-BE49-F238E27FC236}">
                <a16:creationId xmlns="" xmlns:a16="http://schemas.microsoft.com/office/drawing/2014/main" id="{0956175B-8E5A-4180-A69B-E4B6C84A8527}"/>
              </a:ext>
            </a:extLst>
          </p:cNvPr>
          <p:cNvSpPr txBox="1"/>
          <p:nvPr/>
        </p:nvSpPr>
        <p:spPr>
          <a:xfrm>
            <a:off x="9882943" y="6448248"/>
            <a:ext cx="21387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600" dirty="0">
                <a:solidFill>
                  <a:srgbClr val="4F89C7"/>
                </a:solidFill>
              </a:rPr>
              <a:t>© Horváth &amp; </a:t>
            </a:r>
            <a:r>
              <a:rPr lang="hu-HU" sz="1600" dirty="0" err="1">
                <a:solidFill>
                  <a:srgbClr val="4F89C7"/>
                </a:solidFill>
              </a:rPr>
              <a:t>Partners</a:t>
            </a:r>
            <a:endParaRPr lang="hu-HU" sz="1600" dirty="0">
              <a:solidFill>
                <a:srgbClr val="4F89C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328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églalap 2"/>
          <p:cNvSpPr/>
          <p:nvPr/>
        </p:nvSpPr>
        <p:spPr>
          <a:xfrm>
            <a:off x="0" y="1058265"/>
            <a:ext cx="12192000" cy="5799735"/>
          </a:xfrm>
          <a:prstGeom prst="rect">
            <a:avLst/>
          </a:prstGeom>
          <a:solidFill>
            <a:srgbClr val="045E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/>
          </a:p>
        </p:txBody>
      </p:sp>
      <p:sp>
        <p:nvSpPr>
          <p:cNvPr id="2" name="Title 1"/>
          <p:cNvSpPr txBox="1">
            <a:spLocks/>
          </p:cNvSpPr>
          <p:nvPr/>
        </p:nvSpPr>
        <p:spPr>
          <a:xfrm>
            <a:off x="4343400" y="580292"/>
            <a:ext cx="7526214" cy="5943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PECIÁLIS DIÁK</a:t>
            </a:r>
            <a:endParaRPr lang="en-US" dirty="0"/>
          </a:p>
        </p:txBody>
      </p:sp>
      <p:sp>
        <p:nvSpPr>
          <p:cNvPr id="5" name="Rectangle 3"/>
          <p:cNvSpPr/>
          <p:nvPr/>
        </p:nvSpPr>
        <p:spPr>
          <a:xfrm rot="16200000">
            <a:off x="5238641" y="-5943057"/>
            <a:ext cx="1719893" cy="12878492"/>
          </a:xfrm>
          <a:custGeom>
            <a:avLst/>
            <a:gdLst>
              <a:gd name="connsiteX0" fmla="*/ 0 w 6042212"/>
              <a:gd name="connsiteY0" fmla="*/ 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0 h 4446494"/>
              <a:gd name="connsiteX0" fmla="*/ 0 w 6042212"/>
              <a:gd name="connsiteY0" fmla="*/ 1793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17930 h 4446494"/>
              <a:gd name="connsiteX0" fmla="*/ 278902 w 6321114"/>
              <a:gd name="connsiteY0" fmla="*/ 17930 h 4446494"/>
              <a:gd name="connsiteX1" fmla="*/ 6321114 w 6321114"/>
              <a:gd name="connsiteY1" fmla="*/ 0 h 4446494"/>
              <a:gd name="connsiteX2" fmla="*/ 6321114 w 6321114"/>
              <a:gd name="connsiteY2" fmla="*/ 4446494 h 4446494"/>
              <a:gd name="connsiteX3" fmla="*/ 278902 w 6321114"/>
              <a:gd name="connsiteY3" fmla="*/ 4446494 h 4446494"/>
              <a:gd name="connsiteX4" fmla="*/ 278902 w 6321114"/>
              <a:gd name="connsiteY4" fmla="*/ 17930 h 4446494"/>
              <a:gd name="connsiteX0" fmla="*/ 293564 w 6335776"/>
              <a:gd name="connsiteY0" fmla="*/ 17930 h 4500282"/>
              <a:gd name="connsiteX1" fmla="*/ 6335776 w 6335776"/>
              <a:gd name="connsiteY1" fmla="*/ 0 h 4500282"/>
              <a:gd name="connsiteX2" fmla="*/ 6335776 w 6335776"/>
              <a:gd name="connsiteY2" fmla="*/ 4446494 h 4500282"/>
              <a:gd name="connsiteX3" fmla="*/ 239776 w 6335776"/>
              <a:gd name="connsiteY3" fmla="*/ 4500282 h 4500282"/>
              <a:gd name="connsiteX4" fmla="*/ 293564 w 6335776"/>
              <a:gd name="connsiteY4" fmla="*/ 17930 h 4500282"/>
              <a:gd name="connsiteX0" fmla="*/ 477596 w 6519808"/>
              <a:gd name="connsiteY0" fmla="*/ 17930 h 4500282"/>
              <a:gd name="connsiteX1" fmla="*/ 6519808 w 6519808"/>
              <a:gd name="connsiteY1" fmla="*/ 0 h 4500282"/>
              <a:gd name="connsiteX2" fmla="*/ 6519808 w 6519808"/>
              <a:gd name="connsiteY2" fmla="*/ 4446494 h 4500282"/>
              <a:gd name="connsiteX3" fmla="*/ 423808 w 6519808"/>
              <a:gd name="connsiteY3" fmla="*/ 4500282 h 4500282"/>
              <a:gd name="connsiteX4" fmla="*/ 477596 w 6519808"/>
              <a:gd name="connsiteY4" fmla="*/ 17930 h 4500282"/>
              <a:gd name="connsiteX0" fmla="*/ 401857 w 6444069"/>
              <a:gd name="connsiteY0" fmla="*/ 17930 h 4500282"/>
              <a:gd name="connsiteX1" fmla="*/ 6444069 w 6444069"/>
              <a:gd name="connsiteY1" fmla="*/ 0 h 4500282"/>
              <a:gd name="connsiteX2" fmla="*/ 6444069 w 6444069"/>
              <a:gd name="connsiteY2" fmla="*/ 4446494 h 4500282"/>
              <a:gd name="connsiteX3" fmla="*/ 348069 w 6444069"/>
              <a:gd name="connsiteY3" fmla="*/ 4500282 h 4500282"/>
              <a:gd name="connsiteX4" fmla="*/ 401857 w 6444069"/>
              <a:gd name="connsiteY4" fmla="*/ 17930 h 4500282"/>
              <a:gd name="connsiteX0" fmla="*/ 283039 w 6325251"/>
              <a:gd name="connsiteY0" fmla="*/ 17930 h 4500282"/>
              <a:gd name="connsiteX1" fmla="*/ 6325251 w 6325251"/>
              <a:gd name="connsiteY1" fmla="*/ 0 h 4500282"/>
              <a:gd name="connsiteX2" fmla="*/ 6325251 w 6325251"/>
              <a:gd name="connsiteY2" fmla="*/ 4446494 h 4500282"/>
              <a:gd name="connsiteX3" fmla="*/ 229251 w 6325251"/>
              <a:gd name="connsiteY3" fmla="*/ 4500282 h 4500282"/>
              <a:gd name="connsiteX4" fmla="*/ 283039 w 6325251"/>
              <a:gd name="connsiteY4" fmla="*/ 17930 h 4500282"/>
              <a:gd name="connsiteX0" fmla="*/ 255115 w 6297327"/>
              <a:gd name="connsiteY0" fmla="*/ 17930 h 4500282"/>
              <a:gd name="connsiteX1" fmla="*/ 6297327 w 6297327"/>
              <a:gd name="connsiteY1" fmla="*/ 0 h 4500282"/>
              <a:gd name="connsiteX2" fmla="*/ 6297327 w 6297327"/>
              <a:gd name="connsiteY2" fmla="*/ 4446494 h 4500282"/>
              <a:gd name="connsiteX3" fmla="*/ 201327 w 6297327"/>
              <a:gd name="connsiteY3" fmla="*/ 4500282 h 4500282"/>
              <a:gd name="connsiteX4" fmla="*/ 255115 w 6297327"/>
              <a:gd name="connsiteY4" fmla="*/ 17930 h 4500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7327" h="4500282">
                <a:moveTo>
                  <a:pt x="255115" y="17930"/>
                </a:moveTo>
                <a:lnTo>
                  <a:pt x="6297327" y="0"/>
                </a:lnTo>
                <a:lnTo>
                  <a:pt x="6297327" y="4446494"/>
                </a:lnTo>
                <a:lnTo>
                  <a:pt x="201327" y="4500282"/>
                </a:lnTo>
                <a:cubicBezTo>
                  <a:pt x="4636" y="3696446"/>
                  <a:pt x="-152470" y="1310345"/>
                  <a:pt x="255115" y="17930"/>
                </a:cubicBezTo>
                <a:close/>
              </a:path>
            </a:pathLst>
          </a:custGeom>
          <a:gradFill>
            <a:gsLst>
              <a:gs pos="0">
                <a:srgbClr val="3A559F"/>
              </a:gs>
              <a:gs pos="100000">
                <a:srgbClr val="41739F"/>
              </a:gs>
            </a:gsLst>
            <a:lin ang="16200000" scaled="0"/>
          </a:gradFill>
          <a:ln w="762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70331" y="1"/>
            <a:ext cx="9995646" cy="1332196"/>
          </a:xfrm>
          <a:prstGeom prst="rect">
            <a:avLst/>
          </a:prstGeom>
          <a:effectLst/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0">
                <a:solidFill>
                  <a:schemeClr val="bg1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hu-HU" dirty="0" smtClean="0"/>
              <a:t>A kép, a hang is adat </a:t>
            </a:r>
            <a:r>
              <a:rPr lang="mr-IN" dirty="0" smtClean="0"/>
              <a:t>–</a:t>
            </a:r>
            <a:r>
              <a:rPr lang="hu-HU" dirty="0" smtClean="0"/>
              <a:t> B2B</a:t>
            </a:r>
            <a:endParaRPr lang="en-US" dirty="0"/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221" y="324415"/>
            <a:ext cx="1432449" cy="630278"/>
          </a:xfrm>
          <a:prstGeom prst="rect">
            <a:avLst/>
          </a:prstGeom>
        </p:spPr>
      </p:pic>
      <p:cxnSp>
        <p:nvCxnSpPr>
          <p:cNvPr id="8" name="Straight Connector 8"/>
          <p:cNvCxnSpPr/>
          <p:nvPr/>
        </p:nvCxnSpPr>
        <p:spPr>
          <a:xfrm>
            <a:off x="10410095" y="158265"/>
            <a:ext cx="0" cy="90000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Csoportba foglalás 34"/>
          <p:cNvGrpSpPr/>
          <p:nvPr/>
        </p:nvGrpSpPr>
        <p:grpSpPr>
          <a:xfrm>
            <a:off x="202990" y="1593808"/>
            <a:ext cx="2876814" cy="2961863"/>
            <a:chOff x="202990" y="1593808"/>
            <a:chExt cx="2876814" cy="2961863"/>
          </a:xfrm>
        </p:grpSpPr>
        <p:pic>
          <p:nvPicPr>
            <p:cNvPr id="14" name="Kép 1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90096" y="2498382"/>
              <a:ext cx="2658628" cy="1959321"/>
            </a:xfrm>
            <a:prstGeom prst="rect">
              <a:avLst/>
            </a:prstGeom>
          </p:spPr>
        </p:pic>
        <p:sp>
          <p:nvSpPr>
            <p:cNvPr id="18" name="Szövegdoboz 17"/>
            <p:cNvSpPr txBox="1"/>
            <p:nvPr/>
          </p:nvSpPr>
          <p:spPr>
            <a:xfrm>
              <a:off x="290095" y="1626466"/>
              <a:ext cx="2393604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hu-HU" sz="2000" b="1" dirty="0" smtClean="0">
                  <a:solidFill>
                    <a:schemeClr val="bg1"/>
                  </a:solidFill>
                </a:rPr>
                <a:t>Plazmaszórás: </a:t>
              </a:r>
              <a:r>
                <a:rPr lang="hu-HU" sz="2000" dirty="0" smtClean="0">
                  <a:solidFill>
                    <a:schemeClr val="bg1"/>
                  </a:solidFill>
                </a:rPr>
                <a:t>a </a:t>
              </a:r>
            </a:p>
            <a:p>
              <a:r>
                <a:rPr lang="hu-HU" sz="2000" dirty="0" smtClean="0">
                  <a:solidFill>
                    <a:schemeClr val="bg1"/>
                  </a:solidFill>
                </a:rPr>
                <a:t>gép folyton elromlik</a:t>
              </a:r>
              <a:endParaRPr lang="hu-HU" sz="2000" dirty="0">
                <a:solidFill>
                  <a:schemeClr val="bg1"/>
                </a:solidFill>
              </a:endParaRPr>
            </a:p>
          </p:txBody>
        </p:sp>
        <p:sp>
          <p:nvSpPr>
            <p:cNvPr id="15" name="Téglalap 14"/>
            <p:cNvSpPr/>
            <p:nvPr/>
          </p:nvSpPr>
          <p:spPr>
            <a:xfrm>
              <a:off x="202990" y="1593808"/>
              <a:ext cx="2876814" cy="2961863"/>
            </a:xfrm>
            <a:prstGeom prst="rect">
              <a:avLst/>
            </a:pr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/>
            </a:p>
          </p:txBody>
        </p:sp>
      </p:grpSp>
      <p:grpSp>
        <p:nvGrpSpPr>
          <p:cNvPr id="39" name="Csoportba foglalás 38"/>
          <p:cNvGrpSpPr/>
          <p:nvPr/>
        </p:nvGrpSpPr>
        <p:grpSpPr>
          <a:xfrm>
            <a:off x="3924678" y="1621009"/>
            <a:ext cx="5363403" cy="972420"/>
            <a:chOff x="3924678" y="1621009"/>
            <a:chExt cx="5363403" cy="972420"/>
          </a:xfrm>
        </p:grpSpPr>
        <p:sp>
          <p:nvSpPr>
            <p:cNvPr id="20" name="Téglalap 19"/>
            <p:cNvSpPr/>
            <p:nvPr/>
          </p:nvSpPr>
          <p:spPr>
            <a:xfrm>
              <a:off x="3924678" y="1621009"/>
              <a:ext cx="5363403" cy="972420"/>
            </a:xfrm>
            <a:prstGeom prst="rect">
              <a:avLst/>
            </a:pr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/>
            </a:p>
          </p:txBody>
        </p:sp>
        <p:sp>
          <p:nvSpPr>
            <p:cNvPr id="21" name="Szövegdoboz 20"/>
            <p:cNvSpPr txBox="1"/>
            <p:nvPr/>
          </p:nvSpPr>
          <p:spPr>
            <a:xfrm>
              <a:off x="3995420" y="1735393"/>
              <a:ext cx="5292661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u-HU" sz="2000" b="1" dirty="0" smtClean="0">
                  <a:solidFill>
                    <a:schemeClr val="bg1"/>
                  </a:solidFill>
                </a:rPr>
                <a:t>Dolgozók észreveszik, hogy megváltozik </a:t>
              </a:r>
            </a:p>
            <a:p>
              <a:r>
                <a:rPr lang="hu-HU" sz="2000" b="1" dirty="0" smtClean="0">
                  <a:solidFill>
                    <a:schemeClr val="bg1"/>
                  </a:solidFill>
                </a:rPr>
                <a:t>a gép hangja, mielőtt elromlik.</a:t>
              </a:r>
            </a:p>
          </p:txBody>
        </p:sp>
      </p:grpSp>
      <p:grpSp>
        <p:nvGrpSpPr>
          <p:cNvPr id="40" name="Csoportba foglalás 39"/>
          <p:cNvGrpSpPr/>
          <p:nvPr/>
        </p:nvGrpSpPr>
        <p:grpSpPr>
          <a:xfrm>
            <a:off x="9838825" y="1659797"/>
            <a:ext cx="1570567" cy="1110980"/>
            <a:chOff x="9838825" y="1659797"/>
            <a:chExt cx="1570567" cy="1110980"/>
          </a:xfrm>
        </p:grpSpPr>
        <p:pic>
          <p:nvPicPr>
            <p:cNvPr id="17" name="Kép 16"/>
            <p:cNvPicPr>
              <a:picLocks noChangeAspect="1"/>
            </p:cNvPicPr>
            <p:nvPr/>
          </p:nvPicPr>
          <p:blipFill>
            <a:blip r:embed="rId5">
              <a:biLevel thresh="25000"/>
            </a:blip>
            <a:stretch>
              <a:fillRect/>
            </a:stretch>
          </p:blipFill>
          <p:spPr>
            <a:xfrm>
              <a:off x="10416746" y="1659797"/>
              <a:ext cx="363277" cy="673047"/>
            </a:xfrm>
            <a:prstGeom prst="rect">
              <a:avLst/>
            </a:prstGeom>
          </p:spPr>
        </p:pic>
        <p:sp>
          <p:nvSpPr>
            <p:cNvPr id="23" name="Szövegdoboz 22"/>
            <p:cNvSpPr txBox="1"/>
            <p:nvPr/>
          </p:nvSpPr>
          <p:spPr>
            <a:xfrm>
              <a:off x="9838825" y="2370667"/>
              <a:ext cx="157056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u-HU" sz="2000" b="1" dirty="0" smtClean="0">
                  <a:solidFill>
                    <a:schemeClr val="bg1"/>
                  </a:solidFill>
                </a:rPr>
                <a:t>Mérjünk</a:t>
              </a:r>
            </a:p>
          </p:txBody>
        </p:sp>
      </p:grpSp>
      <p:grpSp>
        <p:nvGrpSpPr>
          <p:cNvPr id="41" name="Csoportba foglalás 40"/>
          <p:cNvGrpSpPr/>
          <p:nvPr/>
        </p:nvGrpSpPr>
        <p:grpSpPr>
          <a:xfrm>
            <a:off x="5404324" y="3368169"/>
            <a:ext cx="6617345" cy="3094623"/>
            <a:chOff x="5404324" y="3368169"/>
            <a:chExt cx="6617345" cy="3094623"/>
          </a:xfrm>
        </p:grpSpPr>
        <p:pic>
          <p:nvPicPr>
            <p:cNvPr id="10" name="Kép 9"/>
            <p:cNvPicPr>
              <a:picLocks noChangeAspect="1"/>
            </p:cNvPicPr>
            <p:nvPr/>
          </p:nvPicPr>
          <p:blipFill rotWithShape="1">
            <a:blip r:embed="rId6"/>
            <a:srcRect b="2161"/>
            <a:stretch/>
          </p:blipFill>
          <p:spPr>
            <a:xfrm>
              <a:off x="5638394" y="3973737"/>
              <a:ext cx="3153282" cy="2280961"/>
            </a:xfrm>
            <a:prstGeom prst="rect">
              <a:avLst/>
            </a:prstGeom>
          </p:spPr>
        </p:pic>
        <p:pic>
          <p:nvPicPr>
            <p:cNvPr id="12" name="Kép 1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903729" y="3985129"/>
              <a:ext cx="3014872" cy="2269569"/>
            </a:xfrm>
            <a:prstGeom prst="rect">
              <a:avLst/>
            </a:prstGeom>
          </p:spPr>
        </p:pic>
        <p:sp>
          <p:nvSpPr>
            <p:cNvPr id="13" name="Szövegdoboz 12"/>
            <p:cNvSpPr txBox="1"/>
            <p:nvPr/>
          </p:nvSpPr>
          <p:spPr>
            <a:xfrm>
              <a:off x="6049024" y="3498436"/>
              <a:ext cx="233429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hu-HU" sz="2000" b="1" dirty="0" smtClean="0">
                  <a:solidFill>
                    <a:schemeClr val="bg1"/>
                  </a:solidFill>
                </a:rPr>
                <a:t>Most áll munkába</a:t>
              </a:r>
              <a:endParaRPr lang="hu-HU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Szövegdoboz 15"/>
            <p:cNvSpPr txBox="1"/>
            <p:nvPr/>
          </p:nvSpPr>
          <p:spPr>
            <a:xfrm>
              <a:off x="9387577" y="3505880"/>
              <a:ext cx="206017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hu-HU" sz="2000" b="1" dirty="0" smtClean="0">
                  <a:solidFill>
                    <a:schemeClr val="bg1"/>
                  </a:solidFill>
                </a:rPr>
                <a:t>Mielőtt elromlik</a:t>
              </a:r>
              <a:endParaRPr lang="hu-HU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Téglalap 23"/>
            <p:cNvSpPr/>
            <p:nvPr/>
          </p:nvSpPr>
          <p:spPr>
            <a:xfrm>
              <a:off x="5404324" y="3368169"/>
              <a:ext cx="6617345" cy="3094623"/>
            </a:xfrm>
            <a:prstGeom prst="rect">
              <a:avLst/>
            </a:prstGeom>
            <a:noFill/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/>
            </a:p>
          </p:txBody>
        </p:sp>
      </p:grpSp>
      <p:grpSp>
        <p:nvGrpSpPr>
          <p:cNvPr id="42" name="Csoportba foglalás 41"/>
          <p:cNvGrpSpPr/>
          <p:nvPr/>
        </p:nvGrpSpPr>
        <p:grpSpPr>
          <a:xfrm>
            <a:off x="2800277" y="3121677"/>
            <a:ext cx="2539824" cy="2158163"/>
            <a:chOff x="2800277" y="3121677"/>
            <a:chExt cx="2539824" cy="2158163"/>
          </a:xfrm>
        </p:grpSpPr>
        <p:pic>
          <p:nvPicPr>
            <p:cNvPr id="19" name="Kép 1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436328" y="3121677"/>
              <a:ext cx="1522844" cy="1724253"/>
            </a:xfrm>
            <a:prstGeom prst="rect">
              <a:avLst/>
            </a:prstGeom>
          </p:spPr>
        </p:pic>
        <p:sp>
          <p:nvSpPr>
            <p:cNvPr id="26" name="Szövegdoboz 25"/>
            <p:cNvSpPr txBox="1"/>
            <p:nvPr/>
          </p:nvSpPr>
          <p:spPr>
            <a:xfrm>
              <a:off x="2800277" y="4879730"/>
              <a:ext cx="253982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hu-HU" sz="2000" b="1" dirty="0" smtClean="0">
                  <a:solidFill>
                    <a:schemeClr val="bg1"/>
                  </a:solidFill>
                </a:rPr>
                <a:t>Optimalizáljunk</a:t>
              </a:r>
            </a:p>
          </p:txBody>
        </p:sp>
      </p:grpSp>
      <p:sp>
        <p:nvSpPr>
          <p:cNvPr id="28" name="Jobbra mutató nyíl 27"/>
          <p:cNvSpPr/>
          <p:nvPr/>
        </p:nvSpPr>
        <p:spPr>
          <a:xfrm>
            <a:off x="3334417" y="1899953"/>
            <a:ext cx="369927" cy="391163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1" name="Jobbra mutató nyíl 30"/>
          <p:cNvSpPr/>
          <p:nvPr/>
        </p:nvSpPr>
        <p:spPr>
          <a:xfrm>
            <a:off x="9612996" y="1899954"/>
            <a:ext cx="369927" cy="391163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2" name="Jobbra mutató nyíl 31"/>
          <p:cNvSpPr/>
          <p:nvPr/>
        </p:nvSpPr>
        <p:spPr>
          <a:xfrm rot="5400000">
            <a:off x="10413420" y="2824711"/>
            <a:ext cx="369927" cy="391163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33" name="Jobbra mutató nyíl 32"/>
          <p:cNvSpPr/>
          <p:nvPr/>
        </p:nvSpPr>
        <p:spPr>
          <a:xfrm rot="10800000">
            <a:off x="4883090" y="3681021"/>
            <a:ext cx="369927" cy="391163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grpSp>
        <p:nvGrpSpPr>
          <p:cNvPr id="43" name="Csoportba foglalás 42"/>
          <p:cNvGrpSpPr/>
          <p:nvPr/>
        </p:nvGrpSpPr>
        <p:grpSpPr>
          <a:xfrm>
            <a:off x="233262" y="4764443"/>
            <a:ext cx="4508357" cy="1740735"/>
            <a:chOff x="233262" y="4764443"/>
            <a:chExt cx="4508357" cy="1740735"/>
          </a:xfrm>
        </p:grpSpPr>
        <p:pic>
          <p:nvPicPr>
            <p:cNvPr id="29" name="Kép 2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90095" y="5196574"/>
              <a:ext cx="1228739" cy="459956"/>
            </a:xfrm>
            <a:prstGeom prst="rect">
              <a:avLst/>
            </a:prstGeom>
          </p:spPr>
        </p:pic>
        <p:pic>
          <p:nvPicPr>
            <p:cNvPr id="30" name="Kép 29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77623" y="6044378"/>
              <a:ext cx="4463996" cy="460800"/>
            </a:xfrm>
            <a:prstGeom prst="rect">
              <a:avLst/>
            </a:prstGeom>
          </p:spPr>
        </p:pic>
        <p:sp>
          <p:nvSpPr>
            <p:cNvPr id="36" name="Szövegdoboz 35"/>
            <p:cNvSpPr txBox="1"/>
            <p:nvPr/>
          </p:nvSpPr>
          <p:spPr>
            <a:xfrm>
              <a:off x="252890" y="4764443"/>
              <a:ext cx="101257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u-HU" sz="2000" b="1" dirty="0" smtClean="0">
                  <a:solidFill>
                    <a:schemeClr val="bg1"/>
                  </a:solidFill>
                </a:rPr>
                <a:t>Előtte:</a:t>
              </a:r>
            </a:p>
          </p:txBody>
        </p:sp>
        <p:sp>
          <p:nvSpPr>
            <p:cNvPr id="37" name="Szövegdoboz 36"/>
            <p:cNvSpPr txBox="1"/>
            <p:nvPr/>
          </p:nvSpPr>
          <p:spPr>
            <a:xfrm>
              <a:off x="233262" y="5658193"/>
              <a:ext cx="101257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hu-HU" sz="2000" b="1" dirty="0" smtClean="0">
                  <a:solidFill>
                    <a:schemeClr val="bg1"/>
                  </a:solidFill>
                </a:rPr>
                <a:t>Utána:</a:t>
              </a:r>
            </a:p>
          </p:txBody>
        </p:sp>
      </p:grpSp>
      <p:pic>
        <p:nvPicPr>
          <p:cNvPr id="38" name="Kép 3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21925" y="4764443"/>
            <a:ext cx="986660" cy="969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419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1" grpId="0" animBg="1"/>
      <p:bldP spid="32" grpId="0" animBg="1"/>
      <p:bldP spid="3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4343400" y="580292"/>
            <a:ext cx="7526214" cy="5943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SPECIÁLIS DIÁK</a:t>
            </a:r>
            <a:endParaRPr lang="en-US" dirty="0"/>
          </a:p>
        </p:txBody>
      </p:sp>
      <p:sp>
        <p:nvSpPr>
          <p:cNvPr id="5" name="Rectangle 3"/>
          <p:cNvSpPr/>
          <p:nvPr/>
        </p:nvSpPr>
        <p:spPr>
          <a:xfrm rot="16200000">
            <a:off x="5238641" y="-5868109"/>
            <a:ext cx="1719893" cy="12878492"/>
          </a:xfrm>
          <a:custGeom>
            <a:avLst/>
            <a:gdLst>
              <a:gd name="connsiteX0" fmla="*/ 0 w 6042212"/>
              <a:gd name="connsiteY0" fmla="*/ 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0 h 4446494"/>
              <a:gd name="connsiteX0" fmla="*/ 0 w 6042212"/>
              <a:gd name="connsiteY0" fmla="*/ 1793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17930 h 4446494"/>
              <a:gd name="connsiteX0" fmla="*/ 278902 w 6321114"/>
              <a:gd name="connsiteY0" fmla="*/ 17930 h 4446494"/>
              <a:gd name="connsiteX1" fmla="*/ 6321114 w 6321114"/>
              <a:gd name="connsiteY1" fmla="*/ 0 h 4446494"/>
              <a:gd name="connsiteX2" fmla="*/ 6321114 w 6321114"/>
              <a:gd name="connsiteY2" fmla="*/ 4446494 h 4446494"/>
              <a:gd name="connsiteX3" fmla="*/ 278902 w 6321114"/>
              <a:gd name="connsiteY3" fmla="*/ 4446494 h 4446494"/>
              <a:gd name="connsiteX4" fmla="*/ 278902 w 6321114"/>
              <a:gd name="connsiteY4" fmla="*/ 17930 h 4446494"/>
              <a:gd name="connsiteX0" fmla="*/ 293564 w 6335776"/>
              <a:gd name="connsiteY0" fmla="*/ 17930 h 4500282"/>
              <a:gd name="connsiteX1" fmla="*/ 6335776 w 6335776"/>
              <a:gd name="connsiteY1" fmla="*/ 0 h 4500282"/>
              <a:gd name="connsiteX2" fmla="*/ 6335776 w 6335776"/>
              <a:gd name="connsiteY2" fmla="*/ 4446494 h 4500282"/>
              <a:gd name="connsiteX3" fmla="*/ 239776 w 6335776"/>
              <a:gd name="connsiteY3" fmla="*/ 4500282 h 4500282"/>
              <a:gd name="connsiteX4" fmla="*/ 293564 w 6335776"/>
              <a:gd name="connsiteY4" fmla="*/ 17930 h 4500282"/>
              <a:gd name="connsiteX0" fmla="*/ 477596 w 6519808"/>
              <a:gd name="connsiteY0" fmla="*/ 17930 h 4500282"/>
              <a:gd name="connsiteX1" fmla="*/ 6519808 w 6519808"/>
              <a:gd name="connsiteY1" fmla="*/ 0 h 4500282"/>
              <a:gd name="connsiteX2" fmla="*/ 6519808 w 6519808"/>
              <a:gd name="connsiteY2" fmla="*/ 4446494 h 4500282"/>
              <a:gd name="connsiteX3" fmla="*/ 423808 w 6519808"/>
              <a:gd name="connsiteY3" fmla="*/ 4500282 h 4500282"/>
              <a:gd name="connsiteX4" fmla="*/ 477596 w 6519808"/>
              <a:gd name="connsiteY4" fmla="*/ 17930 h 4500282"/>
              <a:gd name="connsiteX0" fmla="*/ 401857 w 6444069"/>
              <a:gd name="connsiteY0" fmla="*/ 17930 h 4500282"/>
              <a:gd name="connsiteX1" fmla="*/ 6444069 w 6444069"/>
              <a:gd name="connsiteY1" fmla="*/ 0 h 4500282"/>
              <a:gd name="connsiteX2" fmla="*/ 6444069 w 6444069"/>
              <a:gd name="connsiteY2" fmla="*/ 4446494 h 4500282"/>
              <a:gd name="connsiteX3" fmla="*/ 348069 w 6444069"/>
              <a:gd name="connsiteY3" fmla="*/ 4500282 h 4500282"/>
              <a:gd name="connsiteX4" fmla="*/ 401857 w 6444069"/>
              <a:gd name="connsiteY4" fmla="*/ 17930 h 4500282"/>
              <a:gd name="connsiteX0" fmla="*/ 283039 w 6325251"/>
              <a:gd name="connsiteY0" fmla="*/ 17930 h 4500282"/>
              <a:gd name="connsiteX1" fmla="*/ 6325251 w 6325251"/>
              <a:gd name="connsiteY1" fmla="*/ 0 h 4500282"/>
              <a:gd name="connsiteX2" fmla="*/ 6325251 w 6325251"/>
              <a:gd name="connsiteY2" fmla="*/ 4446494 h 4500282"/>
              <a:gd name="connsiteX3" fmla="*/ 229251 w 6325251"/>
              <a:gd name="connsiteY3" fmla="*/ 4500282 h 4500282"/>
              <a:gd name="connsiteX4" fmla="*/ 283039 w 6325251"/>
              <a:gd name="connsiteY4" fmla="*/ 17930 h 4500282"/>
              <a:gd name="connsiteX0" fmla="*/ 255115 w 6297327"/>
              <a:gd name="connsiteY0" fmla="*/ 17930 h 4500282"/>
              <a:gd name="connsiteX1" fmla="*/ 6297327 w 6297327"/>
              <a:gd name="connsiteY1" fmla="*/ 0 h 4500282"/>
              <a:gd name="connsiteX2" fmla="*/ 6297327 w 6297327"/>
              <a:gd name="connsiteY2" fmla="*/ 4446494 h 4500282"/>
              <a:gd name="connsiteX3" fmla="*/ 201327 w 6297327"/>
              <a:gd name="connsiteY3" fmla="*/ 4500282 h 4500282"/>
              <a:gd name="connsiteX4" fmla="*/ 255115 w 6297327"/>
              <a:gd name="connsiteY4" fmla="*/ 17930 h 4500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7327" h="4500282">
                <a:moveTo>
                  <a:pt x="255115" y="17930"/>
                </a:moveTo>
                <a:lnTo>
                  <a:pt x="6297327" y="0"/>
                </a:lnTo>
                <a:lnTo>
                  <a:pt x="6297327" y="4446494"/>
                </a:lnTo>
                <a:lnTo>
                  <a:pt x="201327" y="4500282"/>
                </a:lnTo>
                <a:cubicBezTo>
                  <a:pt x="4636" y="3696446"/>
                  <a:pt x="-152470" y="1310345"/>
                  <a:pt x="255115" y="17930"/>
                </a:cubicBezTo>
                <a:close/>
              </a:path>
            </a:pathLst>
          </a:custGeom>
          <a:gradFill>
            <a:gsLst>
              <a:gs pos="0">
                <a:srgbClr val="3A559F"/>
              </a:gs>
              <a:gs pos="100000">
                <a:srgbClr val="41739F"/>
              </a:gs>
            </a:gsLst>
            <a:lin ang="16200000" scaled="0"/>
          </a:gradFill>
          <a:ln w="762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70331" y="1"/>
            <a:ext cx="9995646" cy="1332196"/>
          </a:xfrm>
          <a:prstGeom prst="rect">
            <a:avLst/>
          </a:prstGeom>
          <a:effectLst/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0">
                <a:solidFill>
                  <a:schemeClr val="bg1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hu-HU" dirty="0" smtClean="0"/>
              <a:t>Pszichometriai modell és predikció</a:t>
            </a:r>
            <a:endParaRPr lang="en-US" dirty="0"/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221" y="324415"/>
            <a:ext cx="1432449" cy="630278"/>
          </a:xfrm>
          <a:prstGeom prst="rect">
            <a:avLst/>
          </a:prstGeom>
        </p:spPr>
      </p:pic>
      <p:cxnSp>
        <p:nvCxnSpPr>
          <p:cNvPr id="8" name="Straight Connector 8"/>
          <p:cNvCxnSpPr/>
          <p:nvPr/>
        </p:nvCxnSpPr>
        <p:spPr>
          <a:xfrm>
            <a:off x="10410095" y="158265"/>
            <a:ext cx="0" cy="90000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Kép 1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7637" y="1671490"/>
            <a:ext cx="2976680" cy="1278221"/>
          </a:xfrm>
          <a:prstGeom prst="rect">
            <a:avLst/>
          </a:prstGeom>
        </p:spPr>
      </p:pic>
      <p:pic>
        <p:nvPicPr>
          <p:cNvPr id="21" name="Kép 20"/>
          <p:cNvPicPr>
            <a:picLocks noChangeAspect="1"/>
          </p:cNvPicPr>
          <p:nvPr/>
        </p:nvPicPr>
        <p:blipFill>
          <a:blip r:embed="rId5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5543" y="3188583"/>
            <a:ext cx="3184071" cy="630230"/>
          </a:xfrm>
          <a:prstGeom prst="rect">
            <a:avLst/>
          </a:prstGeom>
        </p:spPr>
      </p:pic>
      <p:pic>
        <p:nvPicPr>
          <p:cNvPr id="3" name="Picture 2" descr="Képernyőfotó 2017-10-09 - 19.16.43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4180" y="1671489"/>
            <a:ext cx="9377396" cy="501882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9694574" y="6320986"/>
            <a:ext cx="24199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>
                <a:solidFill>
                  <a:srgbClr val="4F89C7"/>
                </a:solidFill>
              </a:rPr>
              <a:t>© </a:t>
            </a:r>
            <a:r>
              <a:rPr lang="hu-HU" dirty="0" smtClean="0">
                <a:solidFill>
                  <a:srgbClr val="4F89C7"/>
                </a:solidFill>
              </a:rPr>
              <a:t>Dr. Michal Kosinsk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01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ép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6030" y="982064"/>
            <a:ext cx="12248030" cy="8165353"/>
          </a:xfrm>
          <a:prstGeom prst="rect">
            <a:avLst/>
          </a:prstGeom>
        </p:spPr>
      </p:pic>
      <p:sp>
        <p:nvSpPr>
          <p:cNvPr id="2" name="Title 1"/>
          <p:cNvSpPr txBox="1">
            <a:spLocks/>
          </p:cNvSpPr>
          <p:nvPr/>
        </p:nvSpPr>
        <p:spPr>
          <a:xfrm>
            <a:off x="4343400" y="580292"/>
            <a:ext cx="7526214" cy="5943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SPECIÁLIS DIÁK</a:t>
            </a:r>
            <a:endParaRPr lang="en-US" dirty="0"/>
          </a:p>
        </p:txBody>
      </p:sp>
      <p:sp>
        <p:nvSpPr>
          <p:cNvPr id="5" name="Rectangle 3"/>
          <p:cNvSpPr/>
          <p:nvPr/>
        </p:nvSpPr>
        <p:spPr>
          <a:xfrm rot="16200000">
            <a:off x="5238641" y="-5868109"/>
            <a:ext cx="1719893" cy="12878492"/>
          </a:xfrm>
          <a:custGeom>
            <a:avLst/>
            <a:gdLst>
              <a:gd name="connsiteX0" fmla="*/ 0 w 6042212"/>
              <a:gd name="connsiteY0" fmla="*/ 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0 h 4446494"/>
              <a:gd name="connsiteX0" fmla="*/ 0 w 6042212"/>
              <a:gd name="connsiteY0" fmla="*/ 17930 h 4446494"/>
              <a:gd name="connsiteX1" fmla="*/ 6042212 w 6042212"/>
              <a:gd name="connsiteY1" fmla="*/ 0 h 4446494"/>
              <a:gd name="connsiteX2" fmla="*/ 6042212 w 6042212"/>
              <a:gd name="connsiteY2" fmla="*/ 4446494 h 4446494"/>
              <a:gd name="connsiteX3" fmla="*/ 0 w 6042212"/>
              <a:gd name="connsiteY3" fmla="*/ 4446494 h 4446494"/>
              <a:gd name="connsiteX4" fmla="*/ 0 w 6042212"/>
              <a:gd name="connsiteY4" fmla="*/ 17930 h 4446494"/>
              <a:gd name="connsiteX0" fmla="*/ 278902 w 6321114"/>
              <a:gd name="connsiteY0" fmla="*/ 17930 h 4446494"/>
              <a:gd name="connsiteX1" fmla="*/ 6321114 w 6321114"/>
              <a:gd name="connsiteY1" fmla="*/ 0 h 4446494"/>
              <a:gd name="connsiteX2" fmla="*/ 6321114 w 6321114"/>
              <a:gd name="connsiteY2" fmla="*/ 4446494 h 4446494"/>
              <a:gd name="connsiteX3" fmla="*/ 278902 w 6321114"/>
              <a:gd name="connsiteY3" fmla="*/ 4446494 h 4446494"/>
              <a:gd name="connsiteX4" fmla="*/ 278902 w 6321114"/>
              <a:gd name="connsiteY4" fmla="*/ 17930 h 4446494"/>
              <a:gd name="connsiteX0" fmla="*/ 293564 w 6335776"/>
              <a:gd name="connsiteY0" fmla="*/ 17930 h 4500282"/>
              <a:gd name="connsiteX1" fmla="*/ 6335776 w 6335776"/>
              <a:gd name="connsiteY1" fmla="*/ 0 h 4500282"/>
              <a:gd name="connsiteX2" fmla="*/ 6335776 w 6335776"/>
              <a:gd name="connsiteY2" fmla="*/ 4446494 h 4500282"/>
              <a:gd name="connsiteX3" fmla="*/ 239776 w 6335776"/>
              <a:gd name="connsiteY3" fmla="*/ 4500282 h 4500282"/>
              <a:gd name="connsiteX4" fmla="*/ 293564 w 6335776"/>
              <a:gd name="connsiteY4" fmla="*/ 17930 h 4500282"/>
              <a:gd name="connsiteX0" fmla="*/ 477596 w 6519808"/>
              <a:gd name="connsiteY0" fmla="*/ 17930 h 4500282"/>
              <a:gd name="connsiteX1" fmla="*/ 6519808 w 6519808"/>
              <a:gd name="connsiteY1" fmla="*/ 0 h 4500282"/>
              <a:gd name="connsiteX2" fmla="*/ 6519808 w 6519808"/>
              <a:gd name="connsiteY2" fmla="*/ 4446494 h 4500282"/>
              <a:gd name="connsiteX3" fmla="*/ 423808 w 6519808"/>
              <a:gd name="connsiteY3" fmla="*/ 4500282 h 4500282"/>
              <a:gd name="connsiteX4" fmla="*/ 477596 w 6519808"/>
              <a:gd name="connsiteY4" fmla="*/ 17930 h 4500282"/>
              <a:gd name="connsiteX0" fmla="*/ 401857 w 6444069"/>
              <a:gd name="connsiteY0" fmla="*/ 17930 h 4500282"/>
              <a:gd name="connsiteX1" fmla="*/ 6444069 w 6444069"/>
              <a:gd name="connsiteY1" fmla="*/ 0 h 4500282"/>
              <a:gd name="connsiteX2" fmla="*/ 6444069 w 6444069"/>
              <a:gd name="connsiteY2" fmla="*/ 4446494 h 4500282"/>
              <a:gd name="connsiteX3" fmla="*/ 348069 w 6444069"/>
              <a:gd name="connsiteY3" fmla="*/ 4500282 h 4500282"/>
              <a:gd name="connsiteX4" fmla="*/ 401857 w 6444069"/>
              <a:gd name="connsiteY4" fmla="*/ 17930 h 4500282"/>
              <a:gd name="connsiteX0" fmla="*/ 283039 w 6325251"/>
              <a:gd name="connsiteY0" fmla="*/ 17930 h 4500282"/>
              <a:gd name="connsiteX1" fmla="*/ 6325251 w 6325251"/>
              <a:gd name="connsiteY1" fmla="*/ 0 h 4500282"/>
              <a:gd name="connsiteX2" fmla="*/ 6325251 w 6325251"/>
              <a:gd name="connsiteY2" fmla="*/ 4446494 h 4500282"/>
              <a:gd name="connsiteX3" fmla="*/ 229251 w 6325251"/>
              <a:gd name="connsiteY3" fmla="*/ 4500282 h 4500282"/>
              <a:gd name="connsiteX4" fmla="*/ 283039 w 6325251"/>
              <a:gd name="connsiteY4" fmla="*/ 17930 h 4500282"/>
              <a:gd name="connsiteX0" fmla="*/ 255115 w 6297327"/>
              <a:gd name="connsiteY0" fmla="*/ 17930 h 4500282"/>
              <a:gd name="connsiteX1" fmla="*/ 6297327 w 6297327"/>
              <a:gd name="connsiteY1" fmla="*/ 0 h 4500282"/>
              <a:gd name="connsiteX2" fmla="*/ 6297327 w 6297327"/>
              <a:gd name="connsiteY2" fmla="*/ 4446494 h 4500282"/>
              <a:gd name="connsiteX3" fmla="*/ 201327 w 6297327"/>
              <a:gd name="connsiteY3" fmla="*/ 4500282 h 4500282"/>
              <a:gd name="connsiteX4" fmla="*/ 255115 w 6297327"/>
              <a:gd name="connsiteY4" fmla="*/ 17930 h 4500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97327" h="4500282">
                <a:moveTo>
                  <a:pt x="255115" y="17930"/>
                </a:moveTo>
                <a:lnTo>
                  <a:pt x="6297327" y="0"/>
                </a:lnTo>
                <a:lnTo>
                  <a:pt x="6297327" y="4446494"/>
                </a:lnTo>
                <a:lnTo>
                  <a:pt x="201327" y="4500282"/>
                </a:lnTo>
                <a:cubicBezTo>
                  <a:pt x="4636" y="3696446"/>
                  <a:pt x="-152470" y="1310345"/>
                  <a:pt x="255115" y="17930"/>
                </a:cubicBezTo>
                <a:close/>
              </a:path>
            </a:pathLst>
          </a:custGeom>
          <a:gradFill>
            <a:gsLst>
              <a:gs pos="0">
                <a:srgbClr val="3A559F"/>
              </a:gs>
              <a:gs pos="100000">
                <a:srgbClr val="41739F"/>
              </a:gs>
            </a:gsLst>
            <a:lin ang="16200000" scaled="0"/>
          </a:gradFill>
          <a:ln w="762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70331" y="1"/>
            <a:ext cx="9995646" cy="1332196"/>
          </a:xfrm>
          <a:prstGeom prst="rect">
            <a:avLst/>
          </a:prstGeom>
          <a:effectLst/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spc="0">
                <a:solidFill>
                  <a:schemeClr val="bg1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hu-HU" dirty="0" smtClean="0"/>
              <a:t>Minden választó fogyasztó </a:t>
            </a:r>
            <a:r>
              <a:rPr lang="mr-IN" dirty="0" smtClean="0"/>
              <a:t>–</a:t>
            </a:r>
            <a:r>
              <a:rPr lang="hu-HU" dirty="0" smtClean="0"/>
              <a:t> B2G</a:t>
            </a:r>
            <a:endParaRPr lang="en-US" dirty="0"/>
          </a:p>
        </p:txBody>
      </p:sp>
      <p:pic>
        <p:nvPicPr>
          <p:cNvPr id="7" name="Pictur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221" y="324415"/>
            <a:ext cx="1432449" cy="630278"/>
          </a:xfrm>
          <a:prstGeom prst="rect">
            <a:avLst/>
          </a:prstGeom>
        </p:spPr>
      </p:pic>
      <p:cxnSp>
        <p:nvCxnSpPr>
          <p:cNvPr id="8" name="Straight Connector 8"/>
          <p:cNvCxnSpPr/>
          <p:nvPr/>
        </p:nvCxnSpPr>
        <p:spPr>
          <a:xfrm>
            <a:off x="10410095" y="158265"/>
            <a:ext cx="0" cy="90000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7512390" y="1763376"/>
            <a:ext cx="46612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EBCE08"/>
                </a:solidFill>
              </a:rPr>
              <a:t>Gallup  1936 </a:t>
            </a:r>
            <a:r>
              <a:rPr lang="en-US" b="1" dirty="0" err="1" smtClean="0">
                <a:solidFill>
                  <a:srgbClr val="EBCE08"/>
                </a:solidFill>
              </a:rPr>
              <a:t>reprezentatív</a:t>
            </a:r>
            <a:r>
              <a:rPr lang="en-US" b="1" dirty="0" smtClean="0">
                <a:solidFill>
                  <a:srgbClr val="EBCE08"/>
                </a:solidFill>
              </a:rPr>
              <a:t> </a:t>
            </a:r>
            <a:r>
              <a:rPr lang="en-US" b="1" dirty="0" err="1" smtClean="0">
                <a:solidFill>
                  <a:srgbClr val="EBCE08"/>
                </a:solidFill>
              </a:rPr>
              <a:t>mintavétel</a:t>
            </a:r>
            <a:r>
              <a:rPr lang="en-US" b="1" dirty="0" smtClean="0">
                <a:solidFill>
                  <a:srgbClr val="EBCE08"/>
                </a:solidFill>
              </a:rPr>
              <a:t>: </a:t>
            </a:r>
            <a:r>
              <a:rPr lang="en-US" b="1" dirty="0" smtClean="0">
                <a:solidFill>
                  <a:schemeClr val="bg1"/>
                </a:solidFill>
              </a:rPr>
              <a:t>“Ha ma </a:t>
            </a:r>
            <a:r>
              <a:rPr lang="en-US" b="1" dirty="0" err="1" smtClean="0">
                <a:solidFill>
                  <a:schemeClr val="bg1"/>
                </a:solidFill>
              </a:rPr>
              <a:t>lennének</a:t>
            </a:r>
            <a:r>
              <a:rPr lang="en-US" b="1" dirty="0" smtClean="0">
                <a:solidFill>
                  <a:schemeClr val="bg1"/>
                </a:solidFill>
              </a:rPr>
              <a:t> a </a:t>
            </a:r>
            <a:r>
              <a:rPr lang="en-US" b="1" dirty="0" err="1" smtClean="0">
                <a:solidFill>
                  <a:schemeClr val="bg1"/>
                </a:solidFill>
              </a:rPr>
              <a:t>választások</a:t>
            </a:r>
            <a:r>
              <a:rPr lang="en-US" b="1" dirty="0" smtClean="0">
                <a:solidFill>
                  <a:schemeClr val="bg1"/>
                </a:solidFill>
              </a:rPr>
              <a:t>, </a:t>
            </a:r>
            <a:r>
              <a:rPr lang="en-US" b="1" dirty="0" err="1" smtClean="0">
                <a:solidFill>
                  <a:schemeClr val="bg1"/>
                </a:solidFill>
              </a:rPr>
              <a:t>Ön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kire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szavazna</a:t>
            </a:r>
            <a:r>
              <a:rPr lang="en-US" b="1" dirty="0" smtClean="0">
                <a:solidFill>
                  <a:schemeClr val="bg1"/>
                </a:solidFill>
              </a:rPr>
              <a:t>? “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852270" y="3116105"/>
            <a:ext cx="408891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accent4"/>
                </a:solidFill>
              </a:rPr>
              <a:t>Cambridge </a:t>
            </a:r>
            <a:r>
              <a:rPr lang="en-US" b="1" dirty="0" err="1" smtClean="0">
                <a:solidFill>
                  <a:schemeClr val="accent4"/>
                </a:solidFill>
              </a:rPr>
              <a:t>Analytica</a:t>
            </a:r>
            <a:r>
              <a:rPr lang="en-US" b="1" dirty="0" smtClean="0">
                <a:solidFill>
                  <a:schemeClr val="accent4"/>
                </a:solidFill>
              </a:rPr>
              <a:t> 2016 Big Data</a:t>
            </a:r>
            <a:r>
              <a:rPr lang="hu-HU" b="1" dirty="0" smtClean="0">
                <a:solidFill>
                  <a:schemeClr val="accent4"/>
                </a:solidFill>
              </a:rPr>
              <a:t>: </a:t>
            </a:r>
            <a:r>
              <a:rPr lang="en-US" b="1" dirty="0" err="1" smtClean="0">
                <a:solidFill>
                  <a:schemeClr val="bg1"/>
                </a:solidFill>
              </a:rPr>
              <a:t>Viselkedéstudomány</a:t>
            </a:r>
            <a:r>
              <a:rPr lang="en-US" b="1" dirty="0" smtClean="0">
                <a:solidFill>
                  <a:schemeClr val="bg1"/>
                </a:solidFill>
              </a:rPr>
              <a:t>, </a:t>
            </a:r>
            <a:r>
              <a:rPr lang="en-US" b="1" dirty="0" err="1" smtClean="0">
                <a:solidFill>
                  <a:schemeClr val="bg1"/>
                </a:solidFill>
              </a:rPr>
              <a:t>Adatelemzés</a:t>
            </a:r>
            <a:r>
              <a:rPr lang="en-US" b="1" dirty="0" smtClean="0">
                <a:solidFill>
                  <a:schemeClr val="bg1"/>
                </a:solidFill>
              </a:rPr>
              <a:t>, </a:t>
            </a:r>
            <a:r>
              <a:rPr lang="en-US" b="1" dirty="0" err="1" smtClean="0">
                <a:solidFill>
                  <a:schemeClr val="bg1"/>
                </a:solidFill>
              </a:rPr>
              <a:t>Prediktív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téma-modellek</a:t>
            </a:r>
            <a:r>
              <a:rPr lang="en-US" b="1" dirty="0" smtClean="0">
                <a:solidFill>
                  <a:schemeClr val="bg1"/>
                </a:solidFill>
              </a:rPr>
              <a:t>, </a:t>
            </a:r>
            <a:r>
              <a:rPr lang="en-US" b="1" dirty="0" err="1" smtClean="0">
                <a:solidFill>
                  <a:schemeClr val="bg1"/>
                </a:solidFill>
              </a:rPr>
              <a:t>Célzott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 smtClean="0">
                <a:solidFill>
                  <a:schemeClr val="bg1"/>
                </a:solidFill>
              </a:rPr>
              <a:t>hirdetések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203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cFLojcTISePDPIlp_oV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Q79JU3Ry6FDOZGEZw7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58KC8sSAmcxBD5Ez4a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DkDcJSSR2oKVOSURGh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afgjRRTSyao2BSNQeJ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NWyykTSfmehGBt8AuG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gtOAbySzCGTLWfJRJI9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f.g_Y5SD.q0PS4sv1S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zuXyRSSFG0oZl0xlCB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FiAxldTiSoD2oPqYKauA"/>
</p:tagLst>
</file>

<file path=ppt/theme/theme1.xml><?xml version="1.0" encoding="utf-8"?>
<a:theme xmlns:a="http://schemas.openxmlformats.org/drawingml/2006/main" name="Office Theme">
  <a:themeElements>
    <a:clrScheme name="IVSZ TÉMA">
      <a:dk1>
        <a:srgbClr val="000000"/>
      </a:dk1>
      <a:lt1>
        <a:srgbClr val="FFFFFF"/>
      </a:lt1>
      <a:dk2>
        <a:srgbClr val="3A539C"/>
      </a:dk2>
      <a:lt2>
        <a:srgbClr val="FFFFFF"/>
      </a:lt2>
      <a:accent1>
        <a:srgbClr val="4F89C7"/>
      </a:accent1>
      <a:accent2>
        <a:srgbClr val="DA4642"/>
      </a:accent2>
      <a:accent3>
        <a:srgbClr val="5AC3BD"/>
      </a:accent3>
      <a:accent4>
        <a:srgbClr val="EBCE08"/>
      </a:accent4>
      <a:accent5>
        <a:srgbClr val="E97C3E"/>
      </a:accent5>
      <a:accent6>
        <a:srgbClr val="6DCDFB"/>
      </a:accent6>
      <a:hlink>
        <a:srgbClr val="E97C3E"/>
      </a:hlink>
      <a:folHlink>
        <a:srgbClr val="E97C3E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95</TotalTime>
  <Words>751</Words>
  <Application>Microsoft Macintosh PowerPoint</Application>
  <PresentationFormat>Szélesvásznú</PresentationFormat>
  <Paragraphs>156</Paragraphs>
  <Slides>13</Slides>
  <Notes>10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5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3</vt:i4>
      </vt:variant>
    </vt:vector>
  </HeadingPairs>
  <TitlesOfParts>
    <vt:vector size="20" baseType="lpstr">
      <vt:lpstr>Calibri</vt:lpstr>
      <vt:lpstr>Lato</vt:lpstr>
      <vt:lpstr>Mangal</vt:lpstr>
      <vt:lpstr>Wingdings</vt:lpstr>
      <vt:lpstr>Arial</vt:lpstr>
      <vt:lpstr>Office Theme</vt:lpstr>
      <vt:lpstr>Chart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Köszönöm a figyelmet!</vt:lpstr>
    </vt:vector>
  </TitlesOfParts>
  <Company/>
  <LinksUpToDate>false</LinksUpToDate>
  <SharedDoc>false</SharedDoc>
  <HyperlinksChanged>false</HyperlinksChanged>
  <AppVersion>15.004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gy Zoltán</dc:creator>
  <cp:lastModifiedBy>Major Gábor</cp:lastModifiedBy>
  <cp:revision>111</cp:revision>
  <cp:lastPrinted>2016-10-11T11:24:57Z</cp:lastPrinted>
  <dcterms:created xsi:type="dcterms:W3CDTF">2016-10-11T08:33:33Z</dcterms:created>
  <dcterms:modified xsi:type="dcterms:W3CDTF">2017-11-28T08:38:23Z</dcterms:modified>
</cp:coreProperties>
</file>